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1"/>
  </p:notesMasterIdLst>
  <p:handoutMasterIdLst>
    <p:handoutMasterId r:id="rId22"/>
  </p:handoutMasterIdLst>
  <p:sldIdLst>
    <p:sldId id="260" r:id="rId2"/>
    <p:sldId id="335" r:id="rId3"/>
    <p:sldId id="327" r:id="rId4"/>
    <p:sldId id="336" r:id="rId5"/>
    <p:sldId id="333" r:id="rId6"/>
    <p:sldId id="290" r:id="rId7"/>
    <p:sldId id="320" r:id="rId8"/>
    <p:sldId id="340" r:id="rId9"/>
    <p:sldId id="341" r:id="rId10"/>
    <p:sldId id="296" r:id="rId11"/>
    <p:sldId id="342" r:id="rId12"/>
    <p:sldId id="343" r:id="rId13"/>
    <p:sldId id="298" r:id="rId14"/>
    <p:sldId id="299" r:id="rId15"/>
    <p:sldId id="344" r:id="rId16"/>
    <p:sldId id="339" r:id="rId17"/>
    <p:sldId id="285" r:id="rId18"/>
    <p:sldId id="345" r:id="rId19"/>
    <p:sldId id="263" r:id="rId20"/>
  </p:sldIdLst>
  <p:sldSz cx="9144000" cy="5143500" type="screen16x9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5CAB"/>
    <a:srgbClr val="ED106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88" autoAdjust="0"/>
    <p:restoredTop sz="94407"/>
  </p:normalViewPr>
  <p:slideViewPr>
    <p:cSldViewPr showGuides="1">
      <p:cViewPr varScale="1">
        <p:scale>
          <a:sx n="114" d="100"/>
          <a:sy n="114" d="100"/>
        </p:scale>
        <p:origin x="-96" y="-468"/>
      </p:cViewPr>
      <p:guideLst>
        <p:guide orient="horz" pos="314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604" y="-11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DC67CC-9173-4A49-9B69-54A68207ECA8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3923C2-E8DB-4100-B090-E08D303B0EC7}">
      <dgm:prSet phldrT="[Текст]"/>
      <dgm:spPr>
        <a:gradFill flip="none" rotWithShape="1">
          <a:gsLst>
            <a:gs pos="0">
              <a:schemeClr val="accent3">
                <a:lumMod val="40000"/>
                <a:lumOff val="60000"/>
              </a:schemeClr>
            </a:gs>
            <a:gs pos="46000">
              <a:schemeClr val="accent3">
                <a:lumMod val="95000"/>
                <a:lumOff val="5000"/>
              </a:schemeClr>
            </a:gs>
            <a:gs pos="100000">
              <a:schemeClr val="accent3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</dgm:spPr>
      <dgm:t>
        <a:bodyPr/>
        <a:lstStyle/>
        <a:p>
          <a:r>
            <a:rPr lang="ru-RU" dirty="0" smtClean="0">
              <a:solidFill>
                <a:schemeClr val="bg1"/>
              </a:solidFill>
            </a:rPr>
            <a:t>Классная работа</a:t>
          </a:r>
          <a:endParaRPr lang="ru-RU" dirty="0">
            <a:solidFill>
              <a:schemeClr val="bg1"/>
            </a:solidFill>
          </a:endParaRPr>
        </a:p>
      </dgm:t>
    </dgm:pt>
    <dgm:pt modelId="{5142ECBE-247A-4539-8D35-E9336A8B19B5}" type="parTrans" cxnId="{37BB290D-76C1-40C4-AF32-33E438CD6052}">
      <dgm:prSet/>
      <dgm:spPr/>
      <dgm:t>
        <a:bodyPr/>
        <a:lstStyle/>
        <a:p>
          <a:endParaRPr lang="ru-RU"/>
        </a:p>
      </dgm:t>
    </dgm:pt>
    <dgm:pt modelId="{709347CD-F8E2-469C-A519-74D18EEEEAC1}" type="sibTrans" cxnId="{37BB290D-76C1-40C4-AF32-33E438CD6052}">
      <dgm:prSet/>
      <dgm:spPr/>
      <dgm:t>
        <a:bodyPr/>
        <a:lstStyle/>
        <a:p>
          <a:endParaRPr lang="ru-RU"/>
        </a:p>
      </dgm:t>
    </dgm:pt>
    <dgm:pt modelId="{F2BF0829-B20E-4B1C-99AB-385A532D97D2}">
      <dgm:prSet phldrT="[Текст]" custT="1"/>
      <dgm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</dgm:spPr>
      <dgm:t>
        <a:bodyPr lIns="0" tIns="0" rIns="0" bIns="0"/>
        <a:lstStyle/>
        <a:p>
          <a:endParaRPr lang="ru-RU" sz="24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ИНТЕРНЕТ-МАГАЗИН</a:t>
          </a:r>
          <a: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/>
          </a:r>
          <a:b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dirty="0" smtClean="0"/>
            <a:t>для учеников и родителей</a:t>
          </a:r>
        </a:p>
        <a:p>
          <a:endParaRPr lang="ru-RU" sz="1400" dirty="0" smtClean="0"/>
        </a:p>
        <a:p>
          <a:r>
            <a:rPr lang="ru-RU" sz="1400" dirty="0" smtClean="0"/>
            <a:t>быстрый доступ к электронным учебникам </a:t>
          </a:r>
        </a:p>
        <a:p>
          <a:r>
            <a:rPr lang="ru-RU" sz="1400" dirty="0" smtClean="0"/>
            <a:t>из каталога </a:t>
          </a:r>
          <a:r>
            <a:rPr lang="en-US" sz="1400" dirty="0" smtClean="0"/>
            <a:t>LECTA</a:t>
          </a:r>
          <a:r>
            <a:rPr lang="ru-RU" sz="1400" dirty="0" smtClean="0"/>
            <a:t> на домашнем компьютере </a:t>
          </a:r>
        </a:p>
        <a:p>
          <a:r>
            <a:rPr lang="ru-RU" sz="1400" dirty="0" smtClean="0"/>
            <a:t>или мобильном устройстве</a:t>
          </a:r>
        </a:p>
      </dgm:t>
    </dgm:pt>
    <dgm:pt modelId="{B7683697-93BF-4BE6-8FA0-322954358901}" type="parTrans" cxnId="{441B099D-258B-4863-A1A5-E11577F350C1}">
      <dgm:prSet/>
      <dgm:spPr/>
      <dgm:t>
        <a:bodyPr/>
        <a:lstStyle/>
        <a:p>
          <a:endParaRPr lang="ru-RU"/>
        </a:p>
      </dgm:t>
    </dgm:pt>
    <dgm:pt modelId="{F0F0D38D-E277-4CCC-AEB7-D2AAB170CD42}" type="sibTrans" cxnId="{441B099D-258B-4863-A1A5-E11577F350C1}">
      <dgm:prSet/>
      <dgm:spPr/>
      <dgm:t>
        <a:bodyPr/>
        <a:lstStyle/>
        <a:p>
          <a:endParaRPr lang="ru-RU"/>
        </a:p>
      </dgm:t>
    </dgm:pt>
    <dgm:pt modelId="{A81B9D46-E51C-4FB4-9330-C659F9FDC364}">
      <dgm:prSet phldrT="[Текст]" custT="1"/>
      <dgm:spPr>
        <a:solidFill>
          <a:schemeClr val="accent2"/>
        </a:solidFill>
      </dgm:spPr>
      <dgm:t>
        <a:bodyPr lIns="0" tIns="0" rIns="0" bIns="0"/>
        <a:lstStyle/>
        <a:p>
          <a:endParaRPr lang="ru-RU" sz="24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r>
            <a:rPr lang="ru-RU" sz="2400" dirty="0" smtClean="0">
              <a:solidFill>
                <a:schemeClr val="bg2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КНИГОВЫДАЧА</a:t>
          </a:r>
          <a:r>
            <a:rPr lang="ru-RU" sz="2400" dirty="0" smtClean="0">
              <a:solidFill>
                <a:schemeClr val="bg2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/>
          </a:r>
          <a:br>
            <a:rPr lang="ru-RU" sz="2400" dirty="0" smtClean="0">
              <a:solidFill>
                <a:schemeClr val="bg2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dirty="0" smtClean="0">
              <a:solidFill>
                <a:schemeClr val="bg2"/>
              </a:solidFill>
            </a:rPr>
            <a:t>для учителей и библиотекарей</a:t>
          </a:r>
        </a:p>
        <a:p>
          <a:endParaRPr lang="ru-RU" sz="1400" dirty="0" smtClean="0">
            <a:solidFill>
              <a:schemeClr val="bg2"/>
            </a:solidFill>
          </a:endParaRPr>
        </a:p>
        <a:p>
          <a:r>
            <a:rPr lang="ru-RU" sz="1400" dirty="0" smtClean="0">
              <a:solidFill>
                <a:schemeClr val="bg2"/>
              </a:solidFill>
            </a:rPr>
            <a:t>практичный сервис по предоставлению доступа</a:t>
          </a:r>
        </a:p>
        <a:p>
          <a:r>
            <a:rPr lang="ru-RU" sz="1400" dirty="0" smtClean="0">
              <a:solidFill>
                <a:schemeClr val="bg2"/>
              </a:solidFill>
            </a:rPr>
            <a:t>к электронным учебникам </a:t>
          </a:r>
        </a:p>
        <a:p>
          <a:r>
            <a:rPr lang="ru-RU" sz="1400" dirty="0" smtClean="0">
              <a:solidFill>
                <a:schemeClr val="bg2"/>
              </a:solidFill>
            </a:rPr>
            <a:t>для учеников вашей школы</a:t>
          </a:r>
          <a:endParaRPr lang="ru-RU" sz="1400" dirty="0">
            <a:solidFill>
              <a:schemeClr val="bg2"/>
            </a:solidFill>
          </a:endParaRPr>
        </a:p>
      </dgm:t>
    </dgm:pt>
    <dgm:pt modelId="{2D7649E2-F82E-4904-A8A7-186BB4E2D8DC}" type="parTrans" cxnId="{AA1F8766-73B7-49E2-8623-E18A4AF16F9A}">
      <dgm:prSet/>
      <dgm:spPr/>
      <dgm:t>
        <a:bodyPr/>
        <a:lstStyle/>
        <a:p>
          <a:endParaRPr lang="ru-RU"/>
        </a:p>
      </dgm:t>
    </dgm:pt>
    <dgm:pt modelId="{9121FC1E-94CF-4B56-BBDB-8A97C9E080F6}" type="sibTrans" cxnId="{AA1F8766-73B7-49E2-8623-E18A4AF16F9A}">
      <dgm:prSet/>
      <dgm:spPr/>
      <dgm:t>
        <a:bodyPr/>
        <a:lstStyle/>
        <a:p>
          <a:endParaRPr lang="ru-RU"/>
        </a:p>
      </dgm:t>
    </dgm:pt>
    <dgm:pt modelId="{2434B93E-F4F5-481C-B9C8-3E36AA7BCD35}">
      <dgm:prSet phldrT="[Текст]" custT="1"/>
      <dgm:spPr>
        <a:gradFill flip="none" rotWithShape="1">
          <a:gsLst>
            <a:gs pos="0">
              <a:schemeClr val="accent4">
                <a:lumMod val="40000"/>
                <a:lumOff val="60000"/>
                <a:alpha val="98000"/>
              </a:schemeClr>
            </a:gs>
            <a:gs pos="46000">
              <a:schemeClr val="accent4">
                <a:lumMod val="95000"/>
                <a:lumOff val="5000"/>
              </a:schemeClr>
            </a:gs>
            <a:gs pos="100000">
              <a:schemeClr val="accent4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</dgm:spPr>
      <dgm:t>
        <a:bodyPr lIns="0" tIns="0" rIns="0" bIns="0"/>
        <a:lstStyle/>
        <a:p>
          <a:endParaRPr lang="ru-RU" sz="24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r>
            <a:rPr lang="en-US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ONLINE-</a:t>
          </a:r>
          <a: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ЧТЕНИЕ</a:t>
          </a:r>
          <a:b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для посетителей сайта</a:t>
          </a:r>
          <a:endParaRPr lang="ru-RU" sz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  <a:p>
          <a:endParaRPr lang="ru-RU" sz="1500" dirty="0" smtClean="0"/>
        </a:p>
        <a:p>
          <a:r>
            <a:rPr lang="ru-RU" sz="1500" dirty="0" smtClean="0"/>
            <a:t>удобная возможность читать учебник</a:t>
          </a:r>
          <a:br>
            <a:rPr lang="ru-RU" sz="1500" dirty="0" smtClean="0"/>
          </a:br>
          <a:r>
            <a:rPr lang="ru-RU" sz="1500" dirty="0" smtClean="0"/>
            <a:t>прямо на сайте, не скачивая приложение</a:t>
          </a:r>
        </a:p>
        <a:p>
          <a:endParaRPr lang="ru-RU" sz="1500" dirty="0" smtClean="0"/>
        </a:p>
        <a:p>
          <a:endParaRPr lang="ru-RU" sz="1500" dirty="0" smtClean="0"/>
        </a:p>
      </dgm:t>
    </dgm:pt>
    <dgm:pt modelId="{BBE75D8C-C898-4745-9244-8E0B1D619E0A}" type="parTrans" cxnId="{0050B724-DBC6-4D82-9D87-416B9188DFD5}">
      <dgm:prSet/>
      <dgm:spPr/>
      <dgm:t>
        <a:bodyPr/>
        <a:lstStyle/>
        <a:p>
          <a:endParaRPr lang="ru-RU"/>
        </a:p>
      </dgm:t>
    </dgm:pt>
    <dgm:pt modelId="{3A20CA76-5F96-4334-8047-E3695E26E1C8}" type="sibTrans" cxnId="{0050B724-DBC6-4D82-9D87-416B9188DFD5}">
      <dgm:prSet/>
      <dgm:spPr/>
      <dgm:t>
        <a:bodyPr/>
        <a:lstStyle/>
        <a:p>
          <a:endParaRPr lang="ru-RU"/>
        </a:p>
      </dgm:t>
    </dgm:pt>
    <dgm:pt modelId="{B8411F23-AB44-47D6-89CF-32171948A316}">
      <dgm:prSet phldrT="[Текст]" custT="1"/>
      <dgm:spPr>
        <a:gradFill rotWithShape="0">
          <a:gsLst>
            <a:gs pos="0">
              <a:srgbClr val="6699FF">
                <a:shade val="30000"/>
                <a:satMod val="115000"/>
              </a:srgbClr>
            </a:gs>
            <a:gs pos="100000">
              <a:srgbClr val="6699FF">
                <a:shade val="67500"/>
                <a:satMod val="115000"/>
                <a:alpha val="40000"/>
              </a:srgbClr>
            </a:gs>
            <a:gs pos="100000">
              <a:srgbClr val="6699FF">
                <a:shade val="100000"/>
                <a:satMod val="115000"/>
              </a:srgbClr>
            </a:gs>
          </a:gsLst>
          <a:lin ang="16200000" scaled="1"/>
        </a:gradFill>
      </dgm:spPr>
      <dgm:t>
        <a:bodyPr lIns="0" tIns="0" rIns="0" bIns="0"/>
        <a:lstStyle/>
        <a:p>
          <a:endParaRPr lang="ru-RU" sz="24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ПРИЛОЖЕНИЕ </a:t>
          </a:r>
          <a:r>
            <a:rPr lang="en-US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LECTA</a:t>
          </a:r>
          <a: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/>
          </a:r>
          <a:br>
            <a:rPr lang="ru-RU" sz="24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для владельцев мобильных устройств</a:t>
          </a:r>
          <a:endParaRPr lang="ru-RU" sz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  <a:p>
          <a:endParaRPr lang="ru-RU" sz="1500" dirty="0" smtClean="0"/>
        </a:p>
        <a:p>
          <a:r>
            <a:rPr lang="ru-RU" sz="1500" dirty="0" smtClean="0"/>
            <a:t>полезный инструмент для чтения электронных учебников на вашем мобильном устройстве</a:t>
          </a:r>
        </a:p>
        <a:p>
          <a:endParaRPr lang="ru-RU" sz="1500" dirty="0" smtClean="0"/>
        </a:p>
        <a:p>
          <a:endParaRPr lang="ru-RU" sz="1500" dirty="0"/>
        </a:p>
      </dgm:t>
    </dgm:pt>
    <dgm:pt modelId="{92FBFE3A-1BE5-40AE-B870-1C3860497399}" type="parTrans" cxnId="{D489144F-5F54-4ED6-994A-5C302A6525DF}">
      <dgm:prSet/>
      <dgm:spPr/>
      <dgm:t>
        <a:bodyPr/>
        <a:lstStyle/>
        <a:p>
          <a:endParaRPr lang="ru-RU"/>
        </a:p>
      </dgm:t>
    </dgm:pt>
    <dgm:pt modelId="{57E79307-42F3-40B7-BE47-1C0A94431DFC}" type="sibTrans" cxnId="{D489144F-5F54-4ED6-994A-5C302A6525DF}">
      <dgm:prSet/>
      <dgm:spPr/>
      <dgm:t>
        <a:bodyPr/>
        <a:lstStyle/>
        <a:p>
          <a:endParaRPr lang="ru-RU"/>
        </a:p>
      </dgm:t>
    </dgm:pt>
    <dgm:pt modelId="{B39CBEB1-768A-40F4-91F2-DC30644606C5}" type="pres">
      <dgm:prSet presAssocID="{1ADC67CC-9173-4A49-9B69-54A68207ECA8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D743616-1B20-4AFF-8069-0C438FA4C6E2}" type="pres">
      <dgm:prSet presAssocID="{1ADC67CC-9173-4A49-9B69-54A68207ECA8}" presName="matrix" presStyleCnt="0"/>
      <dgm:spPr/>
    </dgm:pt>
    <dgm:pt modelId="{22E4D515-7699-4AC6-B778-7BFC6AFA7467}" type="pres">
      <dgm:prSet presAssocID="{1ADC67CC-9173-4A49-9B69-54A68207ECA8}" presName="tile1" presStyleLbl="node1" presStyleIdx="0" presStyleCnt="4"/>
      <dgm:spPr/>
      <dgm:t>
        <a:bodyPr/>
        <a:lstStyle/>
        <a:p>
          <a:endParaRPr lang="ru-RU"/>
        </a:p>
      </dgm:t>
    </dgm:pt>
    <dgm:pt modelId="{772C56E1-6690-43BF-B004-75926A7902B7}" type="pres">
      <dgm:prSet presAssocID="{1ADC67CC-9173-4A49-9B69-54A68207ECA8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89C62D-44B9-4221-AD0C-5FD0F637FC4C}" type="pres">
      <dgm:prSet presAssocID="{1ADC67CC-9173-4A49-9B69-54A68207ECA8}" presName="tile2" presStyleLbl="node1" presStyleIdx="1" presStyleCnt="4"/>
      <dgm:spPr/>
      <dgm:t>
        <a:bodyPr/>
        <a:lstStyle/>
        <a:p>
          <a:endParaRPr lang="ru-RU"/>
        </a:p>
      </dgm:t>
    </dgm:pt>
    <dgm:pt modelId="{5E5C1D0D-FBA5-4D9C-8354-43FDE6B45D82}" type="pres">
      <dgm:prSet presAssocID="{1ADC67CC-9173-4A49-9B69-54A68207ECA8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0F7658-3715-42AC-AC36-5A994EE473F5}" type="pres">
      <dgm:prSet presAssocID="{1ADC67CC-9173-4A49-9B69-54A68207ECA8}" presName="tile3" presStyleLbl="node1" presStyleIdx="2" presStyleCnt="4"/>
      <dgm:spPr/>
      <dgm:t>
        <a:bodyPr/>
        <a:lstStyle/>
        <a:p>
          <a:endParaRPr lang="ru-RU"/>
        </a:p>
      </dgm:t>
    </dgm:pt>
    <dgm:pt modelId="{753BD685-9002-48FC-B235-DC5283822C86}" type="pres">
      <dgm:prSet presAssocID="{1ADC67CC-9173-4A49-9B69-54A68207ECA8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F6BD71-8D1E-4113-8F98-2A9A7EF28622}" type="pres">
      <dgm:prSet presAssocID="{1ADC67CC-9173-4A49-9B69-54A68207ECA8}" presName="tile4" presStyleLbl="node1" presStyleIdx="3" presStyleCnt="4"/>
      <dgm:spPr/>
      <dgm:t>
        <a:bodyPr/>
        <a:lstStyle/>
        <a:p>
          <a:endParaRPr lang="ru-RU"/>
        </a:p>
      </dgm:t>
    </dgm:pt>
    <dgm:pt modelId="{B3FAE27C-509A-4759-875E-35F597FA2A1E}" type="pres">
      <dgm:prSet presAssocID="{1ADC67CC-9173-4A49-9B69-54A68207ECA8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12C7C5-A2D5-415B-96C1-657A14FF539D}" type="pres">
      <dgm:prSet presAssocID="{1ADC67CC-9173-4A49-9B69-54A68207ECA8}" presName="centerTile" presStyleLbl="fgShp" presStyleIdx="0" presStyleCnt="1" custScaleX="75950" custScaleY="76596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DAB63C65-C3C2-4EB0-B3A9-F6C86F525CF3}" type="presOf" srcId="{F2BF0829-B20E-4B1C-99AB-385A532D97D2}" destId="{22E4D515-7699-4AC6-B778-7BFC6AFA7467}" srcOrd="0" destOrd="0" presId="urn:microsoft.com/office/officeart/2005/8/layout/matrix1"/>
    <dgm:cxn modelId="{45EAA5D5-4430-44D1-A17C-86CBA38136BB}" type="presOf" srcId="{F2BF0829-B20E-4B1C-99AB-385A532D97D2}" destId="{772C56E1-6690-43BF-B004-75926A7902B7}" srcOrd="1" destOrd="0" presId="urn:microsoft.com/office/officeart/2005/8/layout/matrix1"/>
    <dgm:cxn modelId="{AA1F8766-73B7-49E2-8623-E18A4AF16F9A}" srcId="{BA3923C2-E8DB-4100-B090-E08D303B0EC7}" destId="{A81B9D46-E51C-4FB4-9330-C659F9FDC364}" srcOrd="1" destOrd="0" parTransId="{2D7649E2-F82E-4904-A8A7-186BB4E2D8DC}" sibTransId="{9121FC1E-94CF-4B56-BBDB-8A97C9E080F6}"/>
    <dgm:cxn modelId="{AA41198C-E4DD-4F9D-AC46-94D834020D1D}" type="presOf" srcId="{BA3923C2-E8DB-4100-B090-E08D303B0EC7}" destId="{8A12C7C5-A2D5-415B-96C1-657A14FF539D}" srcOrd="0" destOrd="0" presId="urn:microsoft.com/office/officeart/2005/8/layout/matrix1"/>
    <dgm:cxn modelId="{441B099D-258B-4863-A1A5-E11577F350C1}" srcId="{BA3923C2-E8DB-4100-B090-E08D303B0EC7}" destId="{F2BF0829-B20E-4B1C-99AB-385A532D97D2}" srcOrd="0" destOrd="0" parTransId="{B7683697-93BF-4BE6-8FA0-322954358901}" sibTransId="{F0F0D38D-E277-4CCC-AEB7-D2AAB170CD42}"/>
    <dgm:cxn modelId="{9BE0C09C-F72E-4D5C-AB92-24F141017F15}" type="presOf" srcId="{1ADC67CC-9173-4A49-9B69-54A68207ECA8}" destId="{B39CBEB1-768A-40F4-91F2-DC30644606C5}" srcOrd="0" destOrd="0" presId="urn:microsoft.com/office/officeart/2005/8/layout/matrix1"/>
    <dgm:cxn modelId="{86E93620-0729-4B53-BF9C-DFE13171E93F}" type="presOf" srcId="{2434B93E-F4F5-481C-B9C8-3E36AA7BCD35}" destId="{5C0F7658-3715-42AC-AC36-5A994EE473F5}" srcOrd="0" destOrd="0" presId="urn:microsoft.com/office/officeart/2005/8/layout/matrix1"/>
    <dgm:cxn modelId="{D7D1EC38-897D-44EB-949A-503726736314}" type="presOf" srcId="{B8411F23-AB44-47D6-89CF-32171948A316}" destId="{B3FAE27C-509A-4759-875E-35F597FA2A1E}" srcOrd="1" destOrd="0" presId="urn:microsoft.com/office/officeart/2005/8/layout/matrix1"/>
    <dgm:cxn modelId="{0050B724-DBC6-4D82-9D87-416B9188DFD5}" srcId="{BA3923C2-E8DB-4100-B090-E08D303B0EC7}" destId="{2434B93E-F4F5-481C-B9C8-3E36AA7BCD35}" srcOrd="2" destOrd="0" parTransId="{BBE75D8C-C898-4745-9244-8E0B1D619E0A}" sibTransId="{3A20CA76-5F96-4334-8047-E3695E26E1C8}"/>
    <dgm:cxn modelId="{D489144F-5F54-4ED6-994A-5C302A6525DF}" srcId="{BA3923C2-E8DB-4100-B090-E08D303B0EC7}" destId="{B8411F23-AB44-47D6-89CF-32171948A316}" srcOrd="3" destOrd="0" parTransId="{92FBFE3A-1BE5-40AE-B870-1C3860497399}" sibTransId="{57E79307-42F3-40B7-BE47-1C0A94431DFC}"/>
    <dgm:cxn modelId="{EE52DDF7-6CAC-4299-9CBE-950EC9B72316}" type="presOf" srcId="{A81B9D46-E51C-4FB4-9330-C659F9FDC364}" destId="{5E5C1D0D-FBA5-4D9C-8354-43FDE6B45D82}" srcOrd="1" destOrd="0" presId="urn:microsoft.com/office/officeart/2005/8/layout/matrix1"/>
    <dgm:cxn modelId="{37BB290D-76C1-40C4-AF32-33E438CD6052}" srcId="{1ADC67CC-9173-4A49-9B69-54A68207ECA8}" destId="{BA3923C2-E8DB-4100-B090-E08D303B0EC7}" srcOrd="0" destOrd="0" parTransId="{5142ECBE-247A-4539-8D35-E9336A8B19B5}" sibTransId="{709347CD-F8E2-469C-A519-74D18EEEEAC1}"/>
    <dgm:cxn modelId="{DF4D2DD2-A979-4E71-8233-569975B997C0}" type="presOf" srcId="{A81B9D46-E51C-4FB4-9330-C659F9FDC364}" destId="{2B89C62D-44B9-4221-AD0C-5FD0F637FC4C}" srcOrd="0" destOrd="0" presId="urn:microsoft.com/office/officeart/2005/8/layout/matrix1"/>
    <dgm:cxn modelId="{729B7925-60CC-4EAA-96C6-19A30FDEB493}" type="presOf" srcId="{B8411F23-AB44-47D6-89CF-32171948A316}" destId="{DAF6BD71-8D1E-4113-8F98-2A9A7EF28622}" srcOrd="0" destOrd="0" presId="urn:microsoft.com/office/officeart/2005/8/layout/matrix1"/>
    <dgm:cxn modelId="{754AE4D6-3EC8-48F3-A454-8B21C74E1689}" type="presOf" srcId="{2434B93E-F4F5-481C-B9C8-3E36AA7BCD35}" destId="{753BD685-9002-48FC-B235-DC5283822C86}" srcOrd="1" destOrd="0" presId="urn:microsoft.com/office/officeart/2005/8/layout/matrix1"/>
    <dgm:cxn modelId="{81A780FA-5BE6-44C7-B5D1-BF849C66A1D8}" type="presParOf" srcId="{B39CBEB1-768A-40F4-91F2-DC30644606C5}" destId="{CD743616-1B20-4AFF-8069-0C438FA4C6E2}" srcOrd="0" destOrd="0" presId="urn:microsoft.com/office/officeart/2005/8/layout/matrix1"/>
    <dgm:cxn modelId="{CDB70259-EC25-4001-91CE-A644EFEB9EF5}" type="presParOf" srcId="{CD743616-1B20-4AFF-8069-0C438FA4C6E2}" destId="{22E4D515-7699-4AC6-B778-7BFC6AFA7467}" srcOrd="0" destOrd="0" presId="urn:microsoft.com/office/officeart/2005/8/layout/matrix1"/>
    <dgm:cxn modelId="{14B658EC-4640-4F04-92DF-B218312604CB}" type="presParOf" srcId="{CD743616-1B20-4AFF-8069-0C438FA4C6E2}" destId="{772C56E1-6690-43BF-B004-75926A7902B7}" srcOrd="1" destOrd="0" presId="urn:microsoft.com/office/officeart/2005/8/layout/matrix1"/>
    <dgm:cxn modelId="{9E02A2E3-9723-42A1-BD5F-46AC6AFF07ED}" type="presParOf" srcId="{CD743616-1B20-4AFF-8069-0C438FA4C6E2}" destId="{2B89C62D-44B9-4221-AD0C-5FD0F637FC4C}" srcOrd="2" destOrd="0" presId="urn:microsoft.com/office/officeart/2005/8/layout/matrix1"/>
    <dgm:cxn modelId="{81BE38A1-C2C1-49E8-B09C-225FB3DA78DA}" type="presParOf" srcId="{CD743616-1B20-4AFF-8069-0C438FA4C6E2}" destId="{5E5C1D0D-FBA5-4D9C-8354-43FDE6B45D82}" srcOrd="3" destOrd="0" presId="urn:microsoft.com/office/officeart/2005/8/layout/matrix1"/>
    <dgm:cxn modelId="{9E99DC01-BAA4-4BDD-8162-98AA7B5421E7}" type="presParOf" srcId="{CD743616-1B20-4AFF-8069-0C438FA4C6E2}" destId="{5C0F7658-3715-42AC-AC36-5A994EE473F5}" srcOrd="4" destOrd="0" presId="urn:microsoft.com/office/officeart/2005/8/layout/matrix1"/>
    <dgm:cxn modelId="{96924E0A-E0F0-4E65-83E5-D00E77E8F4F4}" type="presParOf" srcId="{CD743616-1B20-4AFF-8069-0C438FA4C6E2}" destId="{753BD685-9002-48FC-B235-DC5283822C86}" srcOrd="5" destOrd="0" presId="urn:microsoft.com/office/officeart/2005/8/layout/matrix1"/>
    <dgm:cxn modelId="{1CE8F272-9D33-4E77-87C7-AD8F55E28D85}" type="presParOf" srcId="{CD743616-1B20-4AFF-8069-0C438FA4C6E2}" destId="{DAF6BD71-8D1E-4113-8F98-2A9A7EF28622}" srcOrd="6" destOrd="0" presId="urn:microsoft.com/office/officeart/2005/8/layout/matrix1"/>
    <dgm:cxn modelId="{CEF4C144-210E-45EB-9B8D-5D29AC995121}" type="presParOf" srcId="{CD743616-1B20-4AFF-8069-0C438FA4C6E2}" destId="{B3FAE27C-509A-4759-875E-35F597FA2A1E}" srcOrd="7" destOrd="0" presId="urn:microsoft.com/office/officeart/2005/8/layout/matrix1"/>
    <dgm:cxn modelId="{195D8805-54AB-4388-AAE7-CF41DFAF75F1}" type="presParOf" srcId="{B39CBEB1-768A-40F4-91F2-DC30644606C5}" destId="{8A12C7C5-A2D5-415B-96C1-657A14FF539D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2E4D515-7699-4AC6-B778-7BFC6AFA7467}">
      <dsp:nvSpPr>
        <dsp:cNvPr id="0" name=""/>
        <dsp:cNvSpPr/>
      </dsp:nvSpPr>
      <dsp:spPr>
        <a:xfrm rot="16200000">
          <a:off x="1147855" y="-1147855"/>
          <a:ext cx="1692188" cy="3987899"/>
        </a:xfrm>
        <a:prstGeom prst="round1Rect">
          <a:avLst/>
        </a:prstGeom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chemeClr val="accent2">
                <a:lumMod val="95000"/>
                <a:lumOff val="5000"/>
              </a:schemeClr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ИНТЕРНЕТ-МАГАЗИН</a:t>
          </a:r>
          <a: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/>
          </a:r>
          <a:b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kern="1200" dirty="0" smtClean="0"/>
            <a:t>для учеников и родителей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быстрый доступ к электронным учебникам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из каталога </a:t>
          </a:r>
          <a:r>
            <a:rPr lang="en-US" sz="1400" kern="1200" dirty="0" smtClean="0"/>
            <a:t>LECTA</a:t>
          </a:r>
          <a:r>
            <a:rPr lang="ru-RU" sz="1400" kern="1200" dirty="0" smtClean="0"/>
            <a:t> на домашнем компьютере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или мобильном устройстве</a:t>
          </a:r>
        </a:p>
      </dsp:txBody>
      <dsp:txXfrm rot="16200000">
        <a:off x="1359378" y="-1359378"/>
        <a:ext cx="1269141" cy="3987899"/>
      </dsp:txXfrm>
    </dsp:sp>
    <dsp:sp modelId="{2B89C62D-44B9-4221-AD0C-5FD0F637FC4C}">
      <dsp:nvSpPr>
        <dsp:cNvPr id="0" name=""/>
        <dsp:cNvSpPr/>
      </dsp:nvSpPr>
      <dsp:spPr>
        <a:xfrm>
          <a:off x="3987899" y="0"/>
          <a:ext cx="3987899" cy="1692188"/>
        </a:xfrm>
        <a:prstGeom prst="round1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solidFill>
                <a:schemeClr val="bg2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КНИГОВЫДАЧА</a:t>
          </a:r>
          <a:r>
            <a:rPr lang="ru-RU" sz="2400" kern="1200" dirty="0" smtClean="0">
              <a:solidFill>
                <a:schemeClr val="bg2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/>
          </a:r>
          <a:br>
            <a:rPr lang="ru-RU" sz="2400" kern="1200" dirty="0" smtClean="0">
              <a:solidFill>
                <a:schemeClr val="bg2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kern="1200" dirty="0" smtClean="0">
              <a:solidFill>
                <a:schemeClr val="bg2"/>
              </a:solidFill>
            </a:rPr>
            <a:t>для учителей и библиотекарей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solidFill>
              <a:schemeClr val="bg2"/>
            </a:solidFill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2"/>
              </a:solidFill>
            </a:rPr>
            <a:t>практичный сервис по предоставлению доступа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2"/>
              </a:solidFill>
            </a:rPr>
            <a:t>к электронным учебникам 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2"/>
              </a:solidFill>
            </a:rPr>
            <a:t>для учеников вашей школы</a:t>
          </a:r>
          <a:endParaRPr lang="ru-RU" sz="1400" kern="1200" dirty="0">
            <a:solidFill>
              <a:schemeClr val="bg2"/>
            </a:solidFill>
          </a:endParaRPr>
        </a:p>
      </dsp:txBody>
      <dsp:txXfrm>
        <a:off x="3987899" y="0"/>
        <a:ext cx="3987899" cy="1269141"/>
      </dsp:txXfrm>
    </dsp:sp>
    <dsp:sp modelId="{5C0F7658-3715-42AC-AC36-5A994EE473F5}">
      <dsp:nvSpPr>
        <dsp:cNvPr id="0" name=""/>
        <dsp:cNvSpPr/>
      </dsp:nvSpPr>
      <dsp:spPr>
        <a:xfrm rot="10800000">
          <a:off x="0" y="1692188"/>
          <a:ext cx="3987899" cy="1692188"/>
        </a:xfrm>
        <a:prstGeom prst="round1Rect">
          <a:avLst/>
        </a:prstGeom>
        <a:gradFill flip="none" rotWithShape="1">
          <a:gsLst>
            <a:gs pos="0">
              <a:schemeClr val="accent4">
                <a:lumMod val="40000"/>
                <a:lumOff val="60000"/>
                <a:alpha val="98000"/>
              </a:schemeClr>
            </a:gs>
            <a:gs pos="46000">
              <a:schemeClr val="accent4">
                <a:lumMod val="95000"/>
                <a:lumOff val="5000"/>
              </a:schemeClr>
            </a:gs>
            <a:gs pos="100000">
              <a:schemeClr val="accent4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ONLINE-</a:t>
          </a:r>
          <a: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ЧТЕНИЕ</a:t>
          </a:r>
          <a:b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для посетителей сайта</a:t>
          </a:r>
          <a:endParaRPr lang="ru-RU" sz="1200" kern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удобная возможность читать учебник</a:t>
          </a:r>
          <a:br>
            <a:rPr lang="ru-RU" sz="1500" kern="1200" dirty="0" smtClean="0"/>
          </a:br>
          <a:r>
            <a:rPr lang="ru-RU" sz="1500" kern="1200" dirty="0" smtClean="0"/>
            <a:t>прямо на сайте, не скачивая приложение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 dirty="0" smtClean="0"/>
        </a:p>
      </dsp:txBody>
      <dsp:txXfrm rot="10800000">
        <a:off x="0" y="2115235"/>
        <a:ext cx="3987899" cy="1269141"/>
      </dsp:txXfrm>
    </dsp:sp>
    <dsp:sp modelId="{DAF6BD71-8D1E-4113-8F98-2A9A7EF28622}">
      <dsp:nvSpPr>
        <dsp:cNvPr id="0" name=""/>
        <dsp:cNvSpPr/>
      </dsp:nvSpPr>
      <dsp:spPr>
        <a:xfrm rot="5400000">
          <a:off x="5135754" y="544332"/>
          <a:ext cx="1692188" cy="3987899"/>
        </a:xfrm>
        <a:prstGeom prst="round1Rect">
          <a:avLst/>
        </a:prstGeom>
        <a:gradFill rotWithShape="0">
          <a:gsLst>
            <a:gs pos="0">
              <a:srgbClr val="6699FF">
                <a:shade val="30000"/>
                <a:satMod val="115000"/>
              </a:srgbClr>
            </a:gs>
            <a:gs pos="100000">
              <a:srgbClr val="6699FF">
                <a:shade val="67500"/>
                <a:satMod val="115000"/>
                <a:alpha val="40000"/>
              </a:srgbClr>
            </a:gs>
            <a:gs pos="100000">
              <a:srgbClr val="6699FF">
                <a:shade val="100000"/>
                <a:satMod val="115000"/>
              </a:srgbClr>
            </a:gs>
          </a:gsLst>
          <a:lin ang="162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cs typeface="Arial" panose="020B0604020202020204" pitchFamily="34" charset="0"/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ПРИЛОЖЕНИЕ </a:t>
          </a:r>
          <a:r>
            <a:rPr lang="en-US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LECTA</a:t>
          </a:r>
          <a: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/>
          </a:r>
          <a:br>
            <a:rPr lang="ru-RU" sz="24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</a:br>
          <a:r>
            <a:rPr lang="ru-RU" sz="1200" kern="1200" dirty="0" smtClean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cs typeface="Arial" panose="020B0604020202020204" pitchFamily="34" charset="0"/>
            </a:rPr>
            <a:t>для владельцев мобильных устройств</a:t>
          </a:r>
          <a:endParaRPr lang="ru-RU" sz="1200" kern="1200" dirty="0" smtClean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полезный инструмент для чтения электронных учебников на вашем мобильном устройстве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kern="1200" dirty="0"/>
        </a:p>
      </dsp:txBody>
      <dsp:txXfrm rot="5400000">
        <a:off x="5347277" y="755856"/>
        <a:ext cx="1269141" cy="3987899"/>
      </dsp:txXfrm>
    </dsp:sp>
    <dsp:sp modelId="{8A12C7C5-A2D5-415B-96C1-657A14FF539D}">
      <dsp:nvSpPr>
        <dsp:cNvPr id="0" name=""/>
        <dsp:cNvSpPr/>
      </dsp:nvSpPr>
      <dsp:spPr>
        <a:xfrm>
          <a:off x="3079256" y="1368150"/>
          <a:ext cx="1817285" cy="648074"/>
        </a:xfrm>
        <a:prstGeom prst="roundRect">
          <a:avLst/>
        </a:prstGeom>
        <a:gradFill flip="none" rotWithShape="1">
          <a:gsLst>
            <a:gs pos="0">
              <a:schemeClr val="accent3">
                <a:lumMod val="40000"/>
                <a:lumOff val="60000"/>
              </a:schemeClr>
            </a:gs>
            <a:gs pos="46000">
              <a:schemeClr val="accent3">
                <a:lumMod val="95000"/>
                <a:lumOff val="5000"/>
              </a:schemeClr>
            </a:gs>
            <a:gs pos="100000">
              <a:schemeClr val="accent3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bg1"/>
              </a:solidFill>
            </a:rPr>
            <a:t>Классная работа</a:t>
          </a:r>
          <a:endParaRPr lang="ru-RU" sz="1800" kern="1200" dirty="0">
            <a:solidFill>
              <a:schemeClr val="bg1"/>
            </a:solidFill>
          </a:endParaRPr>
        </a:p>
      </dsp:txBody>
      <dsp:txXfrm>
        <a:off x="3079256" y="1368150"/>
        <a:ext cx="1817285" cy="6480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698927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DF6144-E6D5-48A5-B0E4-2AE4C065E750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1E6F1-6BA9-4B4E-981A-9F9E21F8C54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12115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98831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94632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236004"/>
            <a:ext cx="7772400" cy="110251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740184"/>
            <a:ext cx="6400800" cy="985833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897521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3002777"/>
            <a:ext cx="7772400" cy="1102519"/>
          </a:xfrm>
        </p:spPr>
        <p:txBody>
          <a:bodyPr anchor="t"/>
          <a:lstStyle>
            <a:lvl1pPr algn="ctr">
              <a:defRPr>
                <a:solidFill>
                  <a:srgbClr val="005CAB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146338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190440" y="161892"/>
            <a:ext cx="8763120" cy="48471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393024"/>
            <a:ext cx="3900486" cy="32015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393024"/>
            <a:ext cx="3829048" cy="32015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381376"/>
            <a:ext cx="3971924" cy="1213247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3381376"/>
            <a:ext cx="3929090" cy="1213247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68313" y="1339445"/>
            <a:ext cx="3960811" cy="182166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339445"/>
            <a:ext cx="3929090" cy="182166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2303858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4018369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2303858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4018369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68313" y="1553758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1178709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68313" y="3268270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2893221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1553758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178709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3268270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2893221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121337"/>
            <a:ext cx="2736000" cy="486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121337"/>
            <a:ext cx="2736000" cy="486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121337"/>
            <a:ext cx="2736000" cy="486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1500180"/>
            <a:ext cx="2736000" cy="243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1500180"/>
            <a:ext cx="2736000" cy="243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1500180"/>
            <a:ext cx="2736000" cy="243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3986733"/>
            <a:ext cx="2736000" cy="621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3986733"/>
            <a:ext cx="2736000" cy="621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3986733"/>
            <a:ext cx="2736000" cy="621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46032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446031" y="1607338"/>
            <a:ext cx="3929090" cy="298728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7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1607338"/>
            <a:ext cx="3929090" cy="298728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4105296"/>
            <a:ext cx="9144000" cy="823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700" y="897520"/>
            <a:ext cx="7244798" cy="1727387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8926" y="4251348"/>
            <a:ext cx="3067081" cy="52140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46032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446031" y="1607338"/>
            <a:ext cx="3929090" cy="123230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7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1607338"/>
            <a:ext cx="3929090" cy="298728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46032" y="2944421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446031" y="3321850"/>
            <a:ext cx="3929090" cy="128588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4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68313" y="1607337"/>
            <a:ext cx="3929090" cy="300039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7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1607338"/>
            <a:ext cx="3929090" cy="123230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7" y="2946800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3321850"/>
            <a:ext cx="3929090" cy="128588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393024"/>
            <a:ext cx="5111750" cy="32015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393024"/>
            <a:ext cx="3008313" cy="3201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232288"/>
            <a:ext cx="5486400" cy="231339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457200" y="16071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453996"/>
            <a:ext cx="5643602" cy="1345612"/>
          </a:xfrm>
          <a:prstGeom prst="rect">
            <a:avLst/>
          </a:prstGeom>
          <a:noFill/>
        </p:spPr>
      </p:pic>
      <p:sp>
        <p:nvSpPr>
          <p:cNvPr id="35" name="Заголовок 1"/>
          <p:cNvSpPr>
            <a:spLocks noGrp="1"/>
          </p:cNvSpPr>
          <p:nvPr>
            <p:ph type="ctrTitle"/>
          </p:nvPr>
        </p:nvSpPr>
        <p:spPr>
          <a:xfrm>
            <a:off x="685800" y="1549386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228984"/>
            <a:ext cx="6400800" cy="98582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0" y="4105296"/>
            <a:ext cx="9144000" cy="823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 userDrawn="1"/>
        </p:nvSpPr>
        <p:spPr>
          <a:xfrm>
            <a:off x="2344708" y="4360887"/>
            <a:ext cx="4965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 smtClean="0"/>
              <a:t>ros.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endParaRPr lang="ru-RU" sz="1600" dirty="0"/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9577" y="4324374"/>
            <a:ext cx="401643" cy="401643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68714" y="4324374"/>
            <a:ext cx="401643" cy="401643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94364" y="4324374"/>
            <a:ext cx="401643" cy="401643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2B8708-D45F-4B89-B047-EC7B00E0CFD2}" type="datetime1">
              <a:rPr lang="ru-RU" smtClean="0"/>
              <a:pPr/>
              <a:t>21.08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73078"/>
            <a:ext cx="9144000" cy="797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6401590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4C10C-38E3-437F-9E9F-5F0FBF4DE2E7}" type="datetime1">
              <a:rPr lang="ru-RU" smtClean="0"/>
              <a:pPr/>
              <a:t>21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108520" y="0"/>
            <a:ext cx="925252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4746441"/>
            <a:ext cx="3276364" cy="201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 userDrawn="1"/>
        </p:nvSpPr>
        <p:spPr>
          <a:xfrm>
            <a:off x="-108520" y="5061741"/>
            <a:ext cx="9252520" cy="8100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-108520" y="0"/>
            <a:ext cx="9252520" cy="8100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xmlns="" val="1298946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0673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2097082"/>
            <a:ext cx="7772400" cy="94933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448062"/>
            <a:ext cx="6400800" cy="657235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636561"/>
            <a:ext cx="5643602" cy="1345612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4105296"/>
            <a:ext cx="9144000" cy="823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8926" y="4251348"/>
            <a:ext cx="3067081" cy="52140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1622412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2544" y="4616478"/>
            <a:ext cx="1690937" cy="368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8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21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409518" y="4633776"/>
            <a:ext cx="2317754" cy="35097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30" r:id="rId8"/>
    <p:sldLayoutId id="2147483709" r:id="rId9"/>
    <p:sldLayoutId id="2147483711" r:id="rId10"/>
    <p:sldLayoutId id="2147483712" r:id="rId11"/>
    <p:sldLayoutId id="2147483700" r:id="rId12"/>
    <p:sldLayoutId id="2147483701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  <p:sldLayoutId id="2147483732" r:id="rId25"/>
    <p:sldLayoutId id="2147483734" r:id="rId26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7.jpeg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17" Type="http://schemas.openxmlformats.org/officeDocument/2006/relationships/image" Target="../media/image36.jpeg"/><Relationship Id="rId2" Type="http://schemas.openxmlformats.org/officeDocument/2006/relationships/image" Target="../media/image21.jpeg"/><Relationship Id="rId16" Type="http://schemas.openxmlformats.org/officeDocument/2006/relationships/image" Target="../media/image3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5" Type="http://schemas.openxmlformats.org/officeDocument/2006/relationships/image" Target="../media/image3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3" Type="http://schemas.openxmlformats.org/officeDocument/2006/relationships/image" Target="../media/image38.gif"/><Relationship Id="rId21" Type="http://schemas.openxmlformats.org/officeDocument/2006/relationships/image" Target="../media/image56.pn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" Type="http://schemas.openxmlformats.org/officeDocument/2006/relationships/image" Target="../media/image37.png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gif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19" Type="http://schemas.openxmlformats.org/officeDocument/2006/relationships/image" Target="../media/image54.png"/><Relationship Id="rId4" Type="http://schemas.openxmlformats.org/officeDocument/2006/relationships/image" Target="../media/image39.gif"/><Relationship Id="rId9" Type="http://schemas.openxmlformats.org/officeDocument/2006/relationships/image" Target="../media/image44.png"/><Relationship Id="rId14" Type="http://schemas.openxmlformats.org/officeDocument/2006/relationships/image" Target="../media/image49.png"/><Relationship Id="rId22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683568" y="2427734"/>
            <a:ext cx="7772400" cy="911810"/>
          </a:xfrm>
        </p:spPr>
        <p:txBody>
          <a:bodyPr>
            <a:noAutofit/>
          </a:bodyPr>
          <a:lstStyle/>
          <a:p>
            <a:r>
              <a:rPr lang="ru-RU" sz="2400" dirty="0" smtClean="0"/>
              <a:t>Взаимодействие издательства учебной литературы с общественными учительскими организациями.</a:t>
            </a: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1600" dirty="0" smtClean="0"/>
              <a:t>Новое </a:t>
            </a:r>
            <a:r>
              <a:rPr lang="ru-RU" sz="1600" dirty="0" smtClean="0"/>
              <a:t>время – новые </a:t>
            </a:r>
            <a:r>
              <a:rPr lang="ru-RU" sz="1600" dirty="0" smtClean="0"/>
              <a:t>возможности.</a:t>
            </a:r>
            <a:endParaRPr lang="ru-RU" sz="1600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572000" y="3740184"/>
            <a:ext cx="3200400" cy="985833"/>
          </a:xfrm>
        </p:spPr>
        <p:txBody>
          <a:bodyPr>
            <a:normAutofit fontScale="70000" lnSpcReduction="20000"/>
          </a:bodyPr>
          <a:lstStyle/>
          <a:p>
            <a:r>
              <a:rPr lang="ru-RU" dirty="0" smtClean="0"/>
              <a:t>Ольга Вячеславовна Донскова, главный методист по русскому языку и литературе 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1" descr="C:\Documents and Settings\zgonnik.m\Мои документы\Downloads\zv201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203598"/>
            <a:ext cx="9144000" cy="3132348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4000" dirty="0" smtClean="0">
                <a:latin typeface="+mn-lt"/>
              </a:rPr>
              <a:t>Центр образовательных инициатив</a:t>
            </a:r>
            <a:endParaRPr lang="ru-RU" sz="4000" dirty="0">
              <a:latin typeface="+mn-lt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457200" y="1147868"/>
            <a:ext cx="8147248" cy="3243807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5" name="Изображение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14616" y="4515714"/>
            <a:ext cx="1071435" cy="3214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63698" y="4374262"/>
            <a:ext cx="684076" cy="406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6112209" y="4718115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«Страна Читающая»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8604448" y="4623978"/>
            <a:ext cx="28803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2" descr="C:\Documents and Settings\zgonnik.m\Рабочий стол\logo-litres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27813" y="4524157"/>
            <a:ext cx="958652" cy="20783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050001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71196" y="4321443"/>
            <a:ext cx="7894120" cy="634730"/>
          </a:xfrm>
        </p:spPr>
        <p:txBody>
          <a:bodyPr>
            <a:normAutofit fontScale="90000"/>
          </a:bodyPr>
          <a:lstStyle/>
          <a:p>
            <a:r>
              <a:rPr lang="ru-RU" sz="2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российская цифровая образовательная платформа </a:t>
            </a:r>
            <a:r>
              <a:rPr lang="ru-RU" sz="21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/>
            </a:r>
            <a:br>
              <a:rPr lang="ru-RU" sz="21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ru-RU" sz="21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для учителей, школьников и родителей</a:t>
            </a:r>
            <a:endParaRPr lang="ru-RU" sz="21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5" name="Номер слайда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AF71F9-7DAD-7849-8098-1599716C2088}" type="slidenum">
              <a:rPr lang="ru-RU" smtClean="0">
                <a:solidFill>
                  <a:schemeClr val="bg1"/>
                </a:solidFill>
              </a:rPr>
              <a:pPr/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649600" y="324519"/>
            <a:ext cx="5623184" cy="3522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spc="8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rPr>
              <a:t>ПЛАТФОРМА </a:t>
            </a:r>
            <a:r>
              <a:rPr lang="en-US" sz="4000" spc="8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rPr>
              <a:t>LECTA</a:t>
            </a:r>
            <a:r>
              <a:rPr lang="ru-RU" sz="4000" spc="8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rPr>
              <a:t> 2.0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72643" y="-49982"/>
            <a:ext cx="9795018" cy="5193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31123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>
                <a:solidFill>
                  <a:schemeClr val="bg2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ЧТО ТАКОЕ </a:t>
            </a:r>
            <a:r>
              <a:rPr lang="en-US" dirty="0" smtClean="0">
                <a:solidFill>
                  <a:schemeClr val="bg2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LECTA</a:t>
            </a:r>
            <a:r>
              <a:rPr lang="ru-RU" dirty="0" smtClean="0">
                <a:solidFill>
                  <a:schemeClr val="bg2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?</a:t>
            </a:r>
            <a:r>
              <a:rPr lang="ru-RU" dirty="0">
                <a:solidFill>
                  <a:schemeClr val="bg2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schemeClr val="bg2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40000"/>
                    </a:schemeClr>
                  </a:glow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</a:br>
            <a:r>
              <a:rPr lang="ru-RU" sz="2400" dirty="0" smtClean="0">
                <a:solidFill>
                  <a:schemeClr val="bg2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сновные сервисы платформы</a:t>
            </a:r>
            <a:endParaRPr lang="ru-RU" sz="2400" dirty="0">
              <a:solidFill>
                <a:schemeClr val="bg2"/>
              </a:solidFill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454245586"/>
              </p:ext>
            </p:extLst>
          </p:nvPr>
        </p:nvGraphicFramePr>
        <p:xfrm>
          <a:off x="539552" y="1203599"/>
          <a:ext cx="7975798" cy="3384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LECTA.RU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AF71F9-7DAD-7849-8098-1599716C2088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261691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4" name="Picture 4" descr="http://uraylib.ru/wp-content/uploads/2014/11/litRe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60232" y="1491630"/>
            <a:ext cx="2124235" cy="2124236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159482"/>
            <a:ext cx="8136904" cy="7455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342900" marR="0" lvl="0" indent="-3429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400" dirty="0" smtClean="0"/>
              <a:t>                      </a:t>
            </a:r>
            <a:r>
              <a:rPr lang="en-US" sz="2400" dirty="0" smtClean="0"/>
              <a:t>     </a:t>
            </a:r>
            <a:r>
              <a:rPr lang="ru-RU" sz="2000" b="1" dirty="0" smtClean="0">
                <a:ea typeface="+mj-ea"/>
                <a:cs typeface="+mj-cs"/>
              </a:rPr>
              <a:t>библиотека учебной литературы  в формате PDF </a:t>
            </a:r>
          </a:p>
        </p:txBody>
      </p:sp>
      <p:pic>
        <p:nvPicPr>
          <p:cNvPr id="11" name="Picture 2" descr="C:\Documents and Settings\zgonnik.m\Рабочий стол\logo-litre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9612" y="231490"/>
            <a:ext cx="1224136" cy="265389"/>
          </a:xfrm>
          <a:prstGeom prst="rect">
            <a:avLst/>
          </a:prstGeom>
          <a:noFill/>
        </p:spPr>
      </p:pic>
      <p:sp>
        <p:nvSpPr>
          <p:cNvPr id="15" name="Содержимое 2"/>
          <p:cNvSpPr txBox="1">
            <a:spLocks/>
          </p:cNvSpPr>
          <p:nvPr/>
        </p:nvSpPr>
        <p:spPr>
          <a:xfrm>
            <a:off x="457200" y="1131591"/>
            <a:ext cx="6383052" cy="37084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66700" indent="182563">
              <a:spcBef>
                <a:spcPts val="0"/>
              </a:spcBef>
              <a:buFont typeface="Arial" pitchFamily="34" charset="0"/>
              <a:buChar char="•"/>
            </a:pPr>
            <a:r>
              <a:rPr lang="ru-RU" sz="2000" dirty="0" smtClean="0"/>
              <a:t>1100 учебных изданий  от Корпорации «Российский учебник»</a:t>
            </a:r>
          </a:p>
          <a:p>
            <a:pPr marL="266700" indent="182563">
              <a:spcBef>
                <a:spcPts val="0"/>
              </a:spcBef>
            </a:pPr>
            <a:endParaRPr lang="ru-RU" sz="2000" dirty="0" smtClean="0"/>
          </a:p>
          <a:p>
            <a:pPr marL="92075" indent="174625">
              <a:spcBef>
                <a:spcPts val="0"/>
              </a:spcBef>
            </a:pPr>
            <a:endParaRPr lang="ru-RU" sz="2000" dirty="0" smtClean="0"/>
          </a:p>
          <a:p>
            <a:r>
              <a:rPr lang="ru-RU" sz="2000" b="1" dirty="0" smtClean="0">
                <a:cs typeface="Arial" panose="020B0604020202020204" pitchFamily="34" charset="0"/>
              </a:rPr>
              <a:t>На сайте </a:t>
            </a:r>
            <a:r>
              <a:rPr lang="en-US" sz="2000" b="1" dirty="0" smtClean="0"/>
              <a:t>litres.ru</a:t>
            </a:r>
            <a:r>
              <a:rPr lang="en-US" sz="2000" dirty="0" smtClean="0"/>
              <a:t> </a:t>
            </a:r>
            <a:r>
              <a:rPr lang="ru-RU" sz="2000" dirty="0" smtClean="0"/>
              <a:t>и в приложении </a:t>
            </a:r>
            <a:r>
              <a:rPr lang="ru-RU" sz="2000" b="1" dirty="0" err="1" smtClean="0">
                <a:cs typeface="Arial" panose="020B0604020202020204" pitchFamily="34" charset="0"/>
              </a:rPr>
              <a:t>Лит</a:t>
            </a:r>
            <a:r>
              <a:rPr lang="ru-RU" sz="2000" b="1" dirty="0" err="1" smtClean="0">
                <a:solidFill>
                  <a:srgbClr val="FF5B05"/>
                </a:solidFill>
                <a:cs typeface="Arial" panose="020B0604020202020204" pitchFamily="34" charset="0"/>
              </a:rPr>
              <a:t>Рес</a:t>
            </a:r>
            <a:r>
              <a:rPr lang="ru-RU" sz="2000" b="1" dirty="0" smtClean="0">
                <a:solidFill>
                  <a:srgbClr val="FF5B05"/>
                </a:solidFill>
                <a:cs typeface="Arial" panose="020B0604020202020204" pitchFamily="34" charset="0"/>
              </a:rPr>
              <a:t> </a:t>
            </a:r>
            <a:r>
              <a:rPr lang="ru-RU" sz="2000" dirty="0" smtClean="0"/>
              <a:t>доступны:</a:t>
            </a:r>
          </a:p>
          <a:p>
            <a:pPr marL="266700" indent="182563">
              <a:buFont typeface="Arial" pitchFamily="34" charset="0"/>
              <a:buChar char="•"/>
            </a:pPr>
            <a:r>
              <a:rPr lang="ru-RU" sz="2000" dirty="0" smtClean="0"/>
              <a:t>учебники</a:t>
            </a:r>
            <a:endParaRPr lang="ru-RU" sz="2000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266700" indent="182563">
              <a:buFont typeface="Arial" pitchFamily="34" charset="0"/>
              <a:buChar char="•"/>
            </a:pPr>
            <a:r>
              <a:rPr lang="ru-RU" sz="2000" dirty="0" smtClean="0"/>
              <a:t>методические пособия</a:t>
            </a:r>
            <a:endParaRPr lang="ru-RU" sz="2000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266700" indent="182563">
              <a:buFont typeface="Arial" pitchFamily="34" charset="0"/>
              <a:buChar char="•"/>
            </a:pPr>
            <a:r>
              <a:rPr lang="ru-RU" sz="2000" dirty="0" smtClean="0"/>
              <a:t>рабочие программы</a:t>
            </a:r>
            <a:endParaRPr lang="ru-RU" sz="2000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266700" indent="182563">
              <a:buFont typeface="Arial" pitchFamily="34" charset="0"/>
              <a:buChar char="•"/>
            </a:pPr>
            <a:r>
              <a:rPr lang="ru-RU" sz="2000" dirty="0" smtClean="0"/>
              <a:t>сборники тестов и задач</a:t>
            </a:r>
            <a:endParaRPr lang="ru-RU" sz="2000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266700" indent="182563">
              <a:buFont typeface="Arial" pitchFamily="34" charset="0"/>
              <a:buChar char="•"/>
            </a:pPr>
            <a:r>
              <a:rPr lang="ru-RU" sz="2000" dirty="0" smtClean="0"/>
              <a:t>пособия для подготовки к ОГЭ и ЕГЭ</a:t>
            </a:r>
          </a:p>
          <a:p>
            <a:pPr marL="92075" indent="174625">
              <a:spcBef>
                <a:spcPts val="0"/>
              </a:spcBef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xmlns="" val="434139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6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1311610"/>
            <a:ext cx="2675767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107504" y="4623978"/>
            <a:ext cx="3132348" cy="3960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457200" y="133971"/>
            <a:ext cx="8229600" cy="74559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ru-RU" sz="2400" dirty="0" smtClean="0">
                <a:ea typeface="+mj-ea"/>
                <a:cs typeface="+mj-cs"/>
              </a:rPr>
              <a:t>Страна Читающая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ru-RU" sz="1600" dirty="0" smtClean="0">
                <a:ea typeface="+mj-ea"/>
                <a:cs typeface="+mj-cs"/>
              </a:rPr>
              <a:t>Международный </a:t>
            </a:r>
            <a:r>
              <a:rPr lang="ru-RU" sz="1600" dirty="0" err="1" smtClean="0">
                <a:ea typeface="+mj-ea"/>
                <a:cs typeface="+mj-cs"/>
              </a:rPr>
              <a:t>краудсорсинговый</a:t>
            </a:r>
            <a:r>
              <a:rPr lang="ru-RU" sz="1600" dirty="0" smtClean="0">
                <a:ea typeface="+mj-ea"/>
                <a:cs typeface="+mj-cs"/>
              </a:rPr>
              <a:t> интернет-проект</a:t>
            </a:r>
          </a:p>
          <a:p>
            <a:pPr marR="0" lvl="0" algn="ctr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ru-RU" sz="1600" dirty="0" smtClean="0">
                <a:ea typeface="+mj-ea"/>
                <a:cs typeface="+mj-cs"/>
              </a:rPr>
              <a:t>про чтение художественной литературы</a:t>
            </a:r>
          </a:p>
        </p:txBody>
      </p:sp>
      <p:sp>
        <p:nvSpPr>
          <p:cNvPr id="12" name="Содержимое 2"/>
          <p:cNvSpPr txBox="1">
            <a:spLocks/>
          </p:cNvSpPr>
          <p:nvPr/>
        </p:nvSpPr>
        <p:spPr>
          <a:xfrm>
            <a:off x="611560" y="1455626"/>
            <a:ext cx="6347048" cy="30963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СТАРТ 06.06.2016</a:t>
            </a:r>
            <a:endParaRPr lang="ru-RU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1400" b="1" dirty="0" smtClean="0"/>
              <a:t>География проекта сегодня: </a:t>
            </a:r>
            <a:r>
              <a:rPr lang="ru-RU" sz="1400" dirty="0" smtClean="0"/>
              <a:t>РФ, СНГ, Европа, Африка</a:t>
            </a:r>
          </a:p>
          <a:p>
            <a:endParaRPr lang="ru-RU" sz="1600" b="1" dirty="0" smtClean="0"/>
          </a:p>
          <a:p>
            <a:r>
              <a:rPr lang="ru-RU" sz="1400" b="1" dirty="0" smtClean="0"/>
              <a:t>Поддержка проекта: 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 smtClean="0"/>
              <a:t> Сенаторский клуб Совета Федерации ФС РФ, 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 smtClean="0"/>
              <a:t>Издательский дом «Первое сентября», 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 smtClean="0"/>
              <a:t>Ассоциация «Гильдия словесников»,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 smtClean="0"/>
              <a:t> Современные поэты и писатели, деятели образования и культуры</a:t>
            </a:r>
          </a:p>
        </p:txBody>
      </p:sp>
      <p:sp>
        <p:nvSpPr>
          <p:cNvPr id="12290" name="AutoShape 2" descr="http://lit.drofa.ru/img/big-svg/logoSite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292" name="AutoShape 4" descr="http://lit.drofa.ru/img/big-svg/logoSite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1287" y="3815919"/>
            <a:ext cx="1584176" cy="940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6" name="Picture 2" descr="http://img1.whoiswho.dp.ru/wiwpictures/568dc6d5-6023-4283-a1e3-8daf5cb5b80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865" y="3828353"/>
            <a:ext cx="759621" cy="759621"/>
          </a:xfrm>
          <a:prstGeom prst="rect">
            <a:avLst/>
          </a:prstGeom>
          <a:noFill/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44103" y="4047914"/>
            <a:ext cx="1387136" cy="297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70" name="Picture 6" descr="http://niro53.ru/sites/default/files/public/documenti/logogildii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11186" y="4013134"/>
            <a:ext cx="900974" cy="5807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92907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Общероссийская общественная организация </a:t>
            </a:r>
            <a:br>
              <a:rPr lang="ru-RU" dirty="0" smtClean="0"/>
            </a:br>
            <a:r>
              <a:rPr lang="ru-RU" dirty="0" smtClean="0"/>
              <a:t>«Ассоциация учителей литературы и русского языка»</a:t>
            </a:r>
            <a:endParaRPr lang="ru-RU" dirty="0"/>
          </a:p>
        </p:txBody>
      </p:sp>
      <p:pic>
        <p:nvPicPr>
          <p:cNvPr id="1026" name="Picture 2" descr="C:\Users\511\Desktop\logotype-mp.pn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352337" y="1707655"/>
            <a:ext cx="3643600" cy="1944216"/>
          </a:xfrm>
          <a:prstGeom prst="rect">
            <a:avLst/>
          </a:prstGeom>
          <a:noFill/>
        </p:spPr>
      </p:pic>
      <p:sp>
        <p:nvSpPr>
          <p:cNvPr id="6" name="Содержимое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dirty="0" smtClean="0"/>
              <a:t>Конференции</a:t>
            </a:r>
          </a:p>
          <a:p>
            <a:r>
              <a:rPr lang="ru-RU" dirty="0" smtClean="0"/>
              <a:t>Конкурсы</a:t>
            </a:r>
          </a:p>
          <a:p>
            <a:r>
              <a:rPr lang="ru-RU" dirty="0" smtClean="0"/>
              <a:t>Проекты</a:t>
            </a:r>
          </a:p>
          <a:p>
            <a:r>
              <a:rPr lang="ru-RU" dirty="0" smtClean="0"/>
              <a:t>Форумы</a:t>
            </a:r>
          </a:p>
          <a:p>
            <a:pPr>
              <a:buNone/>
            </a:pPr>
            <a:r>
              <a:rPr lang="ru-RU" dirty="0" smtClean="0"/>
              <a:t>Приняли участие в мероприятиях в Москве, Санкт-Петербурге, Ярославле, Твери, Астрахани, Ялте, Рязани, Волгограде и др.</a:t>
            </a:r>
            <a:endParaRPr lang="ru-RU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754848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Астрахань. </a:t>
            </a:r>
            <a:br>
              <a:rPr lang="ru-RU" dirty="0" smtClean="0"/>
            </a:br>
            <a:r>
              <a:rPr lang="ru-RU" dirty="0" smtClean="0"/>
              <a:t>Уроки литературы с </a:t>
            </a:r>
            <a:r>
              <a:rPr lang="ru-RU" dirty="0" smtClean="0"/>
              <a:t>Борисом Ланиным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6898" y="1203598"/>
            <a:ext cx="3258307" cy="243477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51201" y="1169302"/>
            <a:ext cx="3178869" cy="239209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04666" y="1110042"/>
            <a:ext cx="3246535" cy="243579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9030" y="2668624"/>
            <a:ext cx="2935468" cy="2310765"/>
          </a:xfrm>
          <a:prstGeom prst="rect">
            <a:avLst/>
          </a:prstGeom>
        </p:spPr>
      </p:pic>
      <p:pic>
        <p:nvPicPr>
          <p:cNvPr id="13" name="Объект 5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84523" y="2721110"/>
            <a:ext cx="2895790" cy="2304684"/>
          </a:xfrm>
        </p:spPr>
      </p:pic>
    </p:spTree>
    <p:extLst>
      <p:ext uri="{BB962C8B-B14F-4D97-AF65-F5344CB8AC3E}">
        <p14:creationId xmlns:p14="http://schemas.microsoft.com/office/powerpoint/2010/main" xmlns="" val="1951584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dirty="0" smtClean="0"/>
              <a:t>Тверь. Методическая </a:t>
            </a:r>
            <a:r>
              <a:rPr lang="ru-RU" dirty="0" smtClean="0"/>
              <a:t>помощь </a:t>
            </a:r>
            <a:r>
              <a:rPr lang="ru-RU" dirty="0" smtClean="0"/>
              <a:t>учителю-филологу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10" name="Объект 9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512" y="1131590"/>
            <a:ext cx="5251146" cy="2952328"/>
          </a:xfr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63580" y="2211710"/>
            <a:ext cx="4548372" cy="2557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64638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ru-RU" b="1" dirty="0" smtClean="0"/>
              <a:t>Цель - популяризация, сохранение, развитие </a:t>
            </a:r>
            <a:r>
              <a:rPr lang="ru-RU" b="1" dirty="0" smtClean="0"/>
              <a:t>и </a:t>
            </a:r>
            <a:r>
              <a:rPr lang="ru-RU" b="1" dirty="0" smtClean="0"/>
              <a:t>изучение русского языка и литературы</a:t>
            </a:r>
            <a:r>
              <a:rPr lang="ru-RU" b="1" dirty="0" smtClean="0"/>
              <a:t> как части мировой </a:t>
            </a:r>
            <a:r>
              <a:rPr lang="ru-RU" b="1" dirty="0" smtClean="0"/>
              <a:t>культуры.</a:t>
            </a:r>
          </a:p>
          <a:p>
            <a:pPr>
              <a:buNone/>
            </a:pPr>
            <a:r>
              <a:rPr lang="ru-RU" dirty="0" smtClean="0">
                <a:solidFill>
                  <a:schemeClr val="accent2"/>
                </a:solidFill>
              </a:rPr>
              <a:t>Участие в конгрессах, </a:t>
            </a:r>
            <a:r>
              <a:rPr lang="ru-RU" dirty="0" smtClean="0">
                <a:solidFill>
                  <a:schemeClr val="accent2"/>
                </a:solidFill>
              </a:rPr>
              <a:t>конференциях</a:t>
            </a:r>
            <a:r>
              <a:rPr lang="ru-RU" dirty="0" smtClean="0">
                <a:solidFill>
                  <a:schemeClr val="accent2"/>
                </a:solidFill>
              </a:rPr>
              <a:t>, семинарах, конкурсах …</a:t>
            </a:r>
          </a:p>
          <a:p>
            <a:pPr>
              <a:buNone/>
            </a:pPr>
            <a:r>
              <a:rPr lang="ru-RU" dirty="0" smtClean="0"/>
              <a:t>Приняли участие в Москве, Санкт-Петербурге, Карачаево-Черкесии, Кабардино-Балкарии, Башкирии и др.</a:t>
            </a:r>
          </a:p>
          <a:p>
            <a:r>
              <a:rPr lang="ru-RU" sz="1800" dirty="0" smtClean="0"/>
              <a:t>Просветительский проект «Тексты </a:t>
            </a:r>
            <a:r>
              <a:rPr lang="ru-RU" sz="1800" dirty="0" smtClean="0"/>
              <a:t>культуры в жизни учителя и ученика: диалоги с искусством</a:t>
            </a:r>
            <a:r>
              <a:rPr lang="ru-RU" sz="1800" dirty="0" smtClean="0"/>
              <a:t>»</a:t>
            </a:r>
          </a:p>
          <a:p>
            <a:r>
              <a:rPr lang="ru-RU" sz="1800" dirty="0" smtClean="0"/>
              <a:t>Научно-практическая конференция «Учимся говорить по-русски. Проблемы русского языка и современных СМИ»</a:t>
            </a:r>
          </a:p>
          <a:p>
            <a:r>
              <a:rPr lang="ru-RU" sz="1800" dirty="0" smtClean="0"/>
              <a:t>Мобильная педагогическая академия «Педагогический Транссиб: от Москвы до берегов Амура»</a:t>
            </a:r>
            <a:endParaRPr lang="ru-RU" sz="1800" dirty="0" smtClean="0"/>
          </a:p>
          <a:p>
            <a:pPr>
              <a:buNone/>
            </a:pPr>
            <a:endParaRPr lang="ru-RU" dirty="0"/>
          </a:p>
        </p:txBody>
      </p:sp>
      <p:pic>
        <p:nvPicPr>
          <p:cNvPr id="2050" name="Picture 2" descr="C:\Users\511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95486"/>
            <a:ext cx="8136904" cy="86409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685800" y="2236005"/>
            <a:ext cx="7772400" cy="767794"/>
          </a:xfrm>
        </p:spPr>
        <p:txBody>
          <a:bodyPr>
            <a:normAutofit/>
          </a:bodyPr>
          <a:lstStyle/>
          <a:p>
            <a:r>
              <a:rPr lang="ru-RU" sz="3600" dirty="0" smtClean="0"/>
              <a:t>Благодарим за внимание!</a:t>
            </a:r>
            <a:endParaRPr lang="ru-RU" sz="3600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1371600" y="3003800"/>
            <a:ext cx="6400800" cy="1722218"/>
          </a:xfrm>
        </p:spPr>
        <p:txBody>
          <a:bodyPr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2800" dirty="0"/>
              <a:t>Контакты:</a:t>
            </a:r>
            <a:endParaRPr lang="en-US" sz="2800" dirty="0"/>
          </a:p>
          <a:p>
            <a:pPr lvl="0">
              <a:spcBef>
                <a:spcPct val="0"/>
              </a:spcBef>
            </a:pPr>
            <a:r>
              <a:rPr lang="ru-RU" sz="2800" dirty="0"/>
              <a:t>+7 (903) 500 23 76</a:t>
            </a:r>
          </a:p>
          <a:p>
            <a:pPr lvl="0">
              <a:spcBef>
                <a:spcPct val="0"/>
              </a:spcBef>
            </a:pPr>
            <a:r>
              <a:rPr lang="en-US" sz="2800" dirty="0"/>
              <a:t>DonskovaOV@vgf.ru</a:t>
            </a:r>
            <a:endParaRPr lang="ru-RU" sz="2800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57921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рпорация «Российский учебник» сегодня – это…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270272" indent="-270272">
              <a:buClr>
                <a:schemeClr val="accent1">
                  <a:lumMod val="50000"/>
                </a:schemeClr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ru-RU" b="1" dirty="0">
                <a:cs typeface="Arial" pitchFamily="34" charset="0"/>
              </a:rPr>
              <a:t>годовой объём выпуска учебной продукции  более </a:t>
            </a:r>
            <a:r>
              <a:rPr lang="ru-RU" b="1" dirty="0" smtClean="0">
                <a:cs typeface="Arial" pitchFamily="34" charset="0"/>
              </a:rPr>
              <a:t>130 </a:t>
            </a:r>
            <a:r>
              <a:rPr lang="ru-RU" b="1" dirty="0">
                <a:cs typeface="Arial" pitchFamily="34" charset="0"/>
              </a:rPr>
              <a:t>000 000 экземпляров;</a:t>
            </a:r>
            <a:r>
              <a:rPr lang="ru-RU" b="1" dirty="0"/>
              <a:t> </a:t>
            </a:r>
          </a:p>
          <a:p>
            <a:pPr marL="270272" indent="-270272">
              <a:buClr>
                <a:schemeClr val="accent1">
                  <a:lumMod val="50000"/>
                </a:schemeClr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ru-RU" b="1" dirty="0"/>
              <a:t>40 % </a:t>
            </a:r>
            <a:r>
              <a:rPr lang="ru-RU" b="1" dirty="0" smtClean="0"/>
              <a:t>от </a:t>
            </a:r>
            <a:r>
              <a:rPr lang="ru-RU" b="1" dirty="0"/>
              <a:t>общего </a:t>
            </a:r>
            <a:r>
              <a:rPr lang="ru-RU" b="1" dirty="0" smtClean="0"/>
              <a:t>количества позиций в ФП;</a:t>
            </a:r>
            <a:endParaRPr lang="ru-RU" b="1" dirty="0"/>
          </a:p>
          <a:p>
            <a:pPr marL="270272" indent="-270272">
              <a:buClr>
                <a:schemeClr val="accent1">
                  <a:lumMod val="50000"/>
                </a:schemeClr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ru-RU" b="1" dirty="0" smtClean="0">
                <a:cs typeface="Arial" pitchFamily="34" charset="0"/>
              </a:rPr>
              <a:t>объединение </a:t>
            </a:r>
            <a:r>
              <a:rPr lang="ru-RU" b="1" dirty="0">
                <a:cs typeface="Arial" pitchFamily="34" charset="0"/>
              </a:rPr>
              <a:t>талантливых авторов;</a:t>
            </a:r>
          </a:p>
          <a:p>
            <a:pPr marL="270272" indent="-270272">
              <a:buClr>
                <a:schemeClr val="accent1">
                  <a:lumMod val="50000"/>
                </a:schemeClr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ru-RU" b="1" dirty="0">
                <a:cs typeface="Arial" pitchFamily="34" charset="0"/>
              </a:rPr>
              <a:t>продвижение  новаторских идей в педагогике, психологии, </a:t>
            </a:r>
            <a:r>
              <a:rPr lang="ru-RU" b="1" dirty="0" smtClean="0">
                <a:cs typeface="Arial" pitchFamily="34" charset="0"/>
              </a:rPr>
              <a:t>лингвистике, </a:t>
            </a:r>
            <a:r>
              <a:rPr lang="ru-RU" b="1" dirty="0" smtClean="0">
                <a:cs typeface="Arial" pitchFamily="34" charset="0"/>
              </a:rPr>
              <a:t>литературоведении;</a:t>
            </a:r>
            <a:endParaRPr lang="ru-RU" b="1" dirty="0">
              <a:cs typeface="Arial" pitchFamily="34" charset="0"/>
            </a:endParaRPr>
          </a:p>
          <a:p>
            <a:pPr marL="270272" indent="-270272">
              <a:buClr>
                <a:schemeClr val="accent1">
                  <a:lumMod val="50000"/>
                </a:schemeClr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ru-RU" b="1" dirty="0">
                <a:cs typeface="Arial" pitchFamily="34" charset="0"/>
              </a:rPr>
              <a:t>интересные мероприятия и проекты для педагогов, методистов и учёных нашей страны;</a:t>
            </a:r>
          </a:p>
          <a:p>
            <a:pPr marL="270272" indent="-270272">
              <a:buClr>
                <a:schemeClr val="accent1">
                  <a:lumMod val="50000"/>
                </a:schemeClr>
              </a:buClr>
              <a:buSzPct val="120000"/>
              <a:buFont typeface="Wingdings" panose="05000000000000000000" pitchFamily="2" charset="2"/>
              <a:buChar char="ü"/>
              <a:defRPr/>
            </a:pPr>
            <a:r>
              <a:rPr lang="ru-RU" b="1" dirty="0">
                <a:cs typeface="Arial" pitchFamily="34" charset="0"/>
              </a:rPr>
              <a:t>сотни </a:t>
            </a:r>
            <a:r>
              <a:rPr lang="ru-RU" b="1" dirty="0" err="1">
                <a:cs typeface="Arial" pitchFamily="34" charset="0"/>
              </a:rPr>
              <a:t>вебинаров</a:t>
            </a:r>
            <a:r>
              <a:rPr lang="ru-RU" b="1" dirty="0">
                <a:cs typeface="Arial" pitchFamily="34" charset="0"/>
              </a:rPr>
              <a:t>, интервью, телепроектов…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79532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1223628" y="222489"/>
            <a:ext cx="6615735" cy="749061"/>
          </a:xfrm>
        </p:spPr>
        <p:txBody>
          <a:bodyPr>
            <a:noAutofit/>
          </a:bodyPr>
          <a:lstStyle/>
          <a:p>
            <a:pPr algn="ctr" eaLnBrk="1" hangingPunct="1">
              <a:defRPr/>
            </a:pPr>
            <a:r>
              <a:rPr lang="ru-RU" sz="2400" b="1" dirty="0"/>
              <a:t>Причины, обозначившие новый взгляд </a:t>
            </a:r>
            <a:br>
              <a:rPr lang="ru-RU" sz="2400" b="1" dirty="0"/>
            </a:br>
            <a:r>
              <a:rPr lang="ru-RU" sz="2400" b="1" dirty="0"/>
              <a:t>на образование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1560" y="1200151"/>
            <a:ext cx="7776864" cy="33944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solidFill>
                  <a:schemeClr val="accent6">
                    <a:lumMod val="10000"/>
                  </a:schemeClr>
                </a:solidFill>
              </a:rPr>
              <a:t>Новый век – это век информационно-коммуникационных </a:t>
            </a:r>
            <a:r>
              <a:rPr lang="ru-RU" sz="2000" dirty="0" smtClean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sz="2000" dirty="0">
                <a:solidFill>
                  <a:schemeClr val="accent6">
                    <a:lumMod val="10000"/>
                  </a:schemeClr>
                </a:solidFill>
              </a:rPr>
              <a:t>технологий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solidFill>
                  <a:schemeClr val="accent6">
                    <a:lumMod val="10000"/>
                  </a:schemeClr>
                </a:solidFill>
              </a:rPr>
              <a:t>Капитал знаний становится условием развития страны, фактором прогресса</a:t>
            </a:r>
          </a:p>
          <a:p>
            <a:pPr eaLnBrk="1" hangingPunct="1"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solidFill>
                  <a:schemeClr val="accent6">
                    <a:lumMod val="10000"/>
                  </a:schemeClr>
                </a:solidFill>
              </a:rPr>
              <a:t>Информатизация </a:t>
            </a:r>
            <a:r>
              <a:rPr lang="ru-RU" sz="2000" dirty="0">
                <a:solidFill>
                  <a:schemeClr val="accent6">
                    <a:lumMod val="10000"/>
                  </a:schemeClr>
                </a:solidFill>
              </a:rPr>
              <a:t>экономики и общества в целом требуют повышения общего уровня образованности людей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solidFill>
                  <a:schemeClr val="accent6">
                    <a:lumMod val="10000"/>
                  </a:schemeClr>
                </a:solidFill>
              </a:rPr>
              <a:t>Современный мир требует от большинства людей больших специальных знаний, чем это было раньше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solidFill>
                  <a:schemeClr val="accent6">
                    <a:lumMod val="10000"/>
                  </a:schemeClr>
                </a:solidFill>
              </a:rPr>
              <a:t>Изменился характер тех знаний, языков и средств, которыми должен владеть человек</a:t>
            </a:r>
          </a:p>
        </p:txBody>
      </p:sp>
    </p:spTree>
    <p:extLst>
      <p:ext uri="{BB962C8B-B14F-4D97-AF65-F5344CB8AC3E}">
        <p14:creationId xmlns:p14="http://schemas.microsoft.com/office/powerpoint/2010/main" xmlns="" val="3301010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dirty="0">
                <a:latin typeface="Calibri" panose="020F0502020204030204" pitchFamily="34" charset="0"/>
              </a:rPr>
              <a:t>Тенденции развития современного </a:t>
            </a:r>
            <a:r>
              <a:rPr lang="ru-RU" b="1" dirty="0" smtClean="0">
                <a:latin typeface="Calibri" panose="020F0502020204030204" pitchFamily="34" charset="0"/>
              </a:rPr>
              <a:t>образования</a:t>
            </a:r>
            <a:r>
              <a:rPr lang="ru-RU" b="1" dirty="0">
                <a:solidFill>
                  <a:srgbClr val="0070C0"/>
                </a:solidFill>
                <a:latin typeface="Calibri" panose="020F0502020204030204" pitchFamily="34" charset="0"/>
              </a:rPr>
              <a:t/>
            </a:r>
            <a:br>
              <a:rPr lang="ru-RU" b="1" dirty="0">
                <a:solidFill>
                  <a:srgbClr val="0070C0"/>
                </a:solidFill>
                <a:latin typeface="Calibri" panose="020F0502020204030204" pitchFamily="34" charset="0"/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257175" indent="-257175">
              <a:lnSpc>
                <a:spcPct val="90000"/>
              </a:lnSpc>
              <a:defRPr/>
            </a:pPr>
            <a:r>
              <a:rPr lang="ru-RU" sz="3200" dirty="0">
                <a:solidFill>
                  <a:schemeClr val="accent6">
                    <a:lumMod val="10000"/>
                  </a:schemeClr>
                </a:solidFill>
                <a:cs typeface="Arial" charset="0"/>
              </a:rPr>
              <a:t>Глобализация требует перехода к сетевым системам образования и организации школьной жизни.</a:t>
            </a:r>
          </a:p>
          <a:p>
            <a:pPr marL="257175" indent="-257175">
              <a:lnSpc>
                <a:spcPct val="90000"/>
              </a:lnSpc>
              <a:defRPr/>
            </a:pPr>
            <a:r>
              <a:rPr lang="ru-RU" sz="3200" dirty="0">
                <a:solidFill>
                  <a:schemeClr val="accent6">
                    <a:lumMod val="10000"/>
                  </a:schemeClr>
                </a:solidFill>
                <a:cs typeface="Arial" charset="0"/>
              </a:rPr>
              <a:t>Школа выходит за пределы собственных стен -образовательной средой для каждого ученика  может являться весь мир. </a:t>
            </a:r>
          </a:p>
          <a:p>
            <a:pPr marL="257175" indent="-257175">
              <a:lnSpc>
                <a:spcPct val="90000"/>
              </a:lnSpc>
              <a:defRPr/>
            </a:pPr>
            <a:r>
              <a:rPr lang="ru-RU" sz="3200" dirty="0">
                <a:solidFill>
                  <a:schemeClr val="accent6">
                    <a:lumMod val="10000"/>
                  </a:schemeClr>
                </a:solidFill>
                <a:cs typeface="Arial" charset="0"/>
              </a:rPr>
              <a:t>Выдающиеся преподаватели и лучшие школы могут расширять свой потенциал, взаимодействуя с десятками тысяч людей.</a:t>
            </a:r>
          </a:p>
          <a:p>
            <a:pPr marL="257175" indent="-257175">
              <a:lnSpc>
                <a:spcPct val="90000"/>
              </a:lnSpc>
              <a:defRPr/>
            </a:pPr>
            <a:r>
              <a:rPr lang="ru-RU" sz="3200" dirty="0">
                <a:solidFill>
                  <a:schemeClr val="accent6">
                    <a:lumMod val="10000"/>
                  </a:schemeClr>
                </a:solidFill>
                <a:cs typeface="Arial" charset="0"/>
              </a:rPr>
              <a:t>Образование становится непрерывным, превращается в постоянный фактор жизненного успеха.</a:t>
            </a:r>
          </a:p>
          <a:p>
            <a:pPr marL="257175" indent="-257175">
              <a:lnSpc>
                <a:spcPct val="90000"/>
              </a:lnSpc>
              <a:defRPr/>
            </a:pPr>
            <a:r>
              <a:rPr lang="ru-RU" sz="3200" dirty="0">
                <a:solidFill>
                  <a:schemeClr val="accent6">
                    <a:lumMod val="10000"/>
                  </a:schemeClr>
                </a:solidFill>
                <a:cs typeface="Arial" charset="0"/>
              </a:rPr>
              <a:t>Возрастные границы образования фактически исчезают: люди учатся и совершенствуются с рождения и до старости.</a:t>
            </a:r>
          </a:p>
          <a:p>
            <a:pPr marL="257175" indent="-257175">
              <a:lnSpc>
                <a:spcPct val="90000"/>
              </a:lnSpc>
              <a:defRPr/>
            </a:pPr>
            <a:r>
              <a:rPr lang="ru-RU" sz="3200" dirty="0">
                <a:solidFill>
                  <a:schemeClr val="accent6">
                    <a:lumMod val="10000"/>
                  </a:schemeClr>
                </a:solidFill>
                <a:cs typeface="Arial" charset="0"/>
              </a:rPr>
              <a:t>Каждый человек становится одновременно и учителем, и учеником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676008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441680" y="2952480"/>
            <a:ext cx="6048672" cy="864096"/>
          </a:xfrm>
          <a:prstGeom prst="rect">
            <a:avLst/>
          </a:prstGeom>
        </p:spPr>
        <p:txBody>
          <a:bodyPr vert="horz" lIns="108849" tIns="54426" rIns="108849" bIns="54426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85646" y="10462"/>
            <a:ext cx="7047783" cy="729081"/>
          </a:xfrm>
        </p:spPr>
        <p:txBody>
          <a:bodyPr>
            <a:noAutofit/>
          </a:bodyPr>
          <a:lstStyle/>
          <a:p>
            <a:r>
              <a:rPr lang="ru-RU" altLang="ru-RU" sz="2400" b="1" dirty="0" smtClean="0">
                <a:solidFill>
                  <a:srgbClr val="000099"/>
                </a:solidFill>
              </a:rPr>
              <a:t>Современный ученик </a:t>
            </a:r>
            <a:r>
              <a:rPr lang="ru-RU" altLang="ru-RU" sz="2400" b="1" dirty="0" smtClean="0">
                <a:solidFill>
                  <a:srgbClr val="000099"/>
                </a:solidFill>
              </a:rPr>
              <a:t>должен стать …</a:t>
            </a:r>
            <a:endParaRPr lang="ru-RU" sz="2400" b="1" dirty="0">
              <a:solidFill>
                <a:srgbClr val="0070C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9335" y="895573"/>
            <a:ext cx="3320988" cy="2703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</a:pPr>
            <a:endParaRPr lang="ru-RU" altLang="ru-RU" sz="1200" b="1" dirty="0">
              <a:solidFill>
                <a:srgbClr val="000099"/>
              </a:solidFill>
            </a:endParaRP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99"/>
                </a:solidFill>
              </a:rPr>
              <a:t>активным,</a:t>
            </a: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99"/>
                </a:solidFill>
              </a:rPr>
              <a:t>инициативным,</a:t>
            </a: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99"/>
                </a:solidFill>
              </a:rPr>
              <a:t>коммуникабельным,</a:t>
            </a: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99"/>
                </a:solidFill>
              </a:rPr>
              <a:t>креативным,</a:t>
            </a: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99"/>
                </a:solidFill>
              </a:rPr>
              <a:t>умеющим критически мыслить,</a:t>
            </a: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99"/>
                </a:solidFill>
              </a:rPr>
              <a:t>способным на введение новшеств</a:t>
            </a:r>
            <a:r>
              <a:rPr lang="ru-RU" altLang="ru-RU" sz="1200" b="1" dirty="0" smtClean="0">
                <a:solidFill>
                  <a:srgbClr val="000099"/>
                </a:solidFill>
              </a:rPr>
              <a:t>,</a:t>
            </a: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 smtClean="0">
                <a:solidFill>
                  <a:srgbClr val="000099"/>
                </a:solidFill>
              </a:rPr>
              <a:t>нацеленным </a:t>
            </a:r>
            <a:r>
              <a:rPr lang="ru-RU" altLang="ru-RU" sz="1200" b="1" dirty="0">
                <a:solidFill>
                  <a:srgbClr val="000099"/>
                </a:solidFill>
              </a:rPr>
              <a:t>на результат;</a:t>
            </a:r>
          </a:p>
          <a:p>
            <a:pPr marL="214313" indent="-214313">
              <a:lnSpc>
                <a:spcPct val="114000"/>
              </a:lnSpc>
              <a:spcBef>
                <a:spcPct val="2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99"/>
                </a:solidFill>
              </a:rPr>
              <a:t>умеющим видеть и решать проблемы, находить и применять нужную информацию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85646" y="3273828"/>
            <a:ext cx="6480720" cy="102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b="1" dirty="0">
                <a:solidFill>
                  <a:srgbClr val="C00000"/>
                </a:solidFill>
                <a:ea typeface="Calibri" pitchFamily="34" charset="0"/>
                <a:cs typeface="Times New Roman" pitchFamily="18" charset="0"/>
              </a:rPr>
              <a:t>НОВАЯ МОДЕЛЬ ОБУЧЕНИЯ </a:t>
            </a:r>
          </a:p>
          <a:p>
            <a:pPr indent="243000">
              <a:lnSpc>
                <a:spcPct val="117000"/>
              </a:lnSpc>
              <a:buClr>
                <a:srgbClr val="FF0000"/>
              </a:buClr>
              <a:buFont typeface="Wingdings" pitchFamily="2" charset="2"/>
              <a:buChar char="Ø"/>
            </a:pPr>
            <a:r>
              <a:rPr lang="ru-RU" sz="1350" dirty="0">
                <a:solidFill>
                  <a:srgbClr val="000099"/>
                </a:solidFill>
                <a:ea typeface="Calibri" pitchFamily="34" charset="0"/>
                <a:cs typeface="Times New Roman" pitchFamily="18" charset="0"/>
              </a:rPr>
              <a:t>в центре технологии обучения - учащийся</a:t>
            </a:r>
          </a:p>
          <a:p>
            <a:pPr indent="243000">
              <a:lnSpc>
                <a:spcPct val="117000"/>
              </a:lnSpc>
              <a:buClr>
                <a:srgbClr val="FF0000"/>
              </a:buClr>
              <a:buFont typeface="Wingdings" pitchFamily="2" charset="2"/>
              <a:buChar char="Ø"/>
            </a:pPr>
            <a:r>
              <a:rPr lang="ru-RU" sz="1350" dirty="0">
                <a:solidFill>
                  <a:srgbClr val="000099"/>
                </a:solidFill>
                <a:ea typeface="Calibri" pitchFamily="34" charset="0"/>
                <a:cs typeface="Times New Roman" pitchFamily="18" charset="0"/>
              </a:rPr>
              <a:t>суть технологии - развитие способности к самообучению</a:t>
            </a:r>
          </a:p>
          <a:p>
            <a:pPr indent="243000">
              <a:lnSpc>
                <a:spcPct val="117000"/>
              </a:lnSpc>
              <a:buClr>
                <a:srgbClr val="FF0000"/>
              </a:buClr>
              <a:buFont typeface="Wingdings" pitchFamily="2" charset="2"/>
              <a:buChar char="Ø"/>
            </a:pPr>
            <a:r>
              <a:rPr lang="ru-RU" sz="1350" dirty="0" smtClean="0">
                <a:solidFill>
                  <a:srgbClr val="000099"/>
                </a:solidFill>
                <a:ea typeface="Calibri" pitchFamily="34" charset="0"/>
                <a:cs typeface="Times New Roman" pitchFamily="18" charset="0"/>
              </a:rPr>
              <a:t>в </a:t>
            </a:r>
            <a:r>
              <a:rPr lang="ru-RU" sz="1350" dirty="0">
                <a:solidFill>
                  <a:srgbClr val="000099"/>
                </a:solidFill>
                <a:ea typeface="Calibri" pitchFamily="34" charset="0"/>
                <a:cs typeface="Times New Roman" pitchFamily="18" charset="0"/>
              </a:rPr>
              <a:t>основе учебной деятельности - сотрудничество</a:t>
            </a:r>
            <a:endParaRPr lang="ru-RU" sz="1350" dirty="0">
              <a:solidFill>
                <a:srgbClr val="000099"/>
              </a:solidFill>
              <a:ea typeface="Calibri" pitchFamily="34" charset="0"/>
            </a:endParaRPr>
          </a:p>
        </p:txBody>
      </p:sp>
      <p:pic>
        <p:nvPicPr>
          <p:cNvPr id="10" name="Shape 275"/>
          <p:cNvPicPr preferRelativeResize="0"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01670" y="792269"/>
            <a:ext cx="3186353" cy="2483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28166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5900" y="205978"/>
            <a:ext cx="6172200" cy="637580"/>
          </a:xfrm>
        </p:spPr>
        <p:txBody>
          <a:bodyPr/>
          <a:lstStyle/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ая форма - новые возможности</a:t>
            </a:r>
          </a:p>
        </p:txBody>
      </p:sp>
      <p:pic>
        <p:nvPicPr>
          <p:cNvPr id="24" name="Содержимое 23" descr="th3ZDZW174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450780" y="980242"/>
            <a:ext cx="1534263" cy="13501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7" name="Содержимое 26" descr="berestjanie-gramoty.jpg"/>
          <p:cNvPicPr>
            <a:picLocks noGrp="1" noChangeAspect="1"/>
          </p:cNvPicPr>
          <p:nvPr>
            <p:ph sz="quarter" idx="4"/>
          </p:nvPr>
        </p:nvPicPr>
        <p:blipFill>
          <a:blip r:embed="rId3" cstate="print"/>
          <a:stretch>
            <a:fillRect/>
          </a:stretch>
        </p:blipFill>
        <p:spPr>
          <a:xfrm>
            <a:off x="1636059" y="1708656"/>
            <a:ext cx="1620180" cy="12880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Рисунок 17" descr="apostol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063356" y="1083844"/>
            <a:ext cx="2512610" cy="16750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Рисунок 18" descr="book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694652" y="1834337"/>
            <a:ext cx="1479333" cy="17220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Рисунок 20" descr="thN8EJQ6R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39405" y="3700922"/>
            <a:ext cx="1134126" cy="11896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" name="Рисунок 27" descr="thAA7MQG2R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56671" y="2320905"/>
            <a:ext cx="1538329" cy="11486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9" name="Рисунок 28" descr="24584672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458021" y="2069494"/>
            <a:ext cx="1686120" cy="12179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14"/>
          <p:cNvSpPr txBox="1"/>
          <p:nvPr/>
        </p:nvSpPr>
        <p:spPr>
          <a:xfrm>
            <a:off x="1168886" y="3493173"/>
            <a:ext cx="205222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ассивная или статичная форма информации</a:t>
            </a:r>
          </a:p>
        </p:txBody>
      </p:sp>
      <p:pic>
        <p:nvPicPr>
          <p:cNvPr id="16" name="Рисунок 15" descr="thK1Y5CRU4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434739" y="3469524"/>
            <a:ext cx="1417671" cy="126645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TextBox 16"/>
          <p:cNvSpPr txBox="1"/>
          <p:nvPr/>
        </p:nvSpPr>
        <p:spPr>
          <a:xfrm>
            <a:off x="4717875" y="3251538"/>
            <a:ext cx="23222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ктивная форма информаци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735149" y="4273118"/>
            <a:ext cx="210623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терактивная форма информ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157790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  <a:latin typeface="Arial" charset="0"/>
              </a:rPr>
              <a:t>Главное отличие учебников нового поколения</a:t>
            </a:r>
            <a:r>
              <a:rPr lang="ru-RU" dirty="0">
                <a:solidFill>
                  <a:schemeClr val="bg2"/>
                </a:solidFill>
                <a:latin typeface="Arial" charset="0"/>
              </a:rPr>
              <a:t> -</a:t>
            </a:r>
            <a:r>
              <a:rPr lang="ru-RU" b="1" u="sng" dirty="0" err="1">
                <a:solidFill>
                  <a:schemeClr val="bg2"/>
                </a:solidFill>
                <a:latin typeface="Arial" charset="0"/>
              </a:rPr>
              <a:t>полифункциональность</a:t>
            </a:r>
            <a:endParaRPr lang="ru-RU" b="1" u="sng" dirty="0">
              <a:solidFill>
                <a:schemeClr val="bg2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idx="1"/>
          </p:nvPr>
        </p:nvSpPr>
        <p:spPr>
          <a:xfrm>
            <a:off x="323528" y="1419622"/>
            <a:ext cx="8568952" cy="3024336"/>
          </a:xfrm>
        </p:spPr>
        <p:txBody>
          <a:bodyPr>
            <a:normAutofit fontScale="85000" lnSpcReduction="20000"/>
          </a:bodyPr>
          <a:lstStyle/>
          <a:p>
            <a:endParaRPr lang="ru-RU" dirty="0" smtClean="0">
              <a:latin typeface="Arial" charset="0"/>
            </a:endParaRPr>
          </a:p>
          <a:p>
            <a:endParaRPr lang="ru-RU" dirty="0" smtClean="0">
              <a:latin typeface="Arial" charset="0"/>
            </a:endParaRPr>
          </a:p>
          <a:p>
            <a:endParaRPr lang="ru-RU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</a:endParaRPr>
          </a:p>
          <a:p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</a:endParaRPr>
          </a:p>
          <a:p>
            <a:pPr marL="0" indent="0">
              <a:buNone/>
            </a:pPr>
            <a:r>
              <a:rPr lang="ru-RU" b="1" dirty="0" smtClean="0">
                <a:solidFill>
                  <a:schemeClr val="tx1"/>
                </a:solidFill>
                <a:latin typeface="Arial" charset="0"/>
              </a:rPr>
              <a:t>Цель:</a:t>
            </a:r>
            <a:r>
              <a:rPr lang="ru-RU" dirty="0" smtClean="0">
                <a:solidFill>
                  <a:schemeClr val="tx1"/>
                </a:solidFill>
                <a:latin typeface="Arial" charset="0"/>
              </a:rPr>
              <a:t> дать не только знания в предметной области, </a:t>
            </a:r>
            <a:r>
              <a:rPr lang="ru-RU" dirty="0">
                <a:solidFill>
                  <a:schemeClr val="tx1"/>
                </a:solidFill>
                <a:latin typeface="Arial" charset="0"/>
              </a:rPr>
              <a:t>но </a:t>
            </a:r>
            <a:r>
              <a:rPr lang="ru-RU" dirty="0" smtClean="0">
                <a:solidFill>
                  <a:schemeClr val="tx1"/>
                </a:solidFill>
                <a:latin typeface="Arial" charset="0"/>
              </a:rPr>
              <a:t>научить </a:t>
            </a:r>
            <a:r>
              <a:rPr lang="ru-RU" dirty="0">
                <a:solidFill>
                  <a:schemeClr val="tx1"/>
                </a:solidFill>
                <a:latin typeface="Arial" charset="0"/>
              </a:rPr>
              <a:t>учиться, находить и оценивать </a:t>
            </a:r>
            <a:r>
              <a:rPr lang="ru-RU" dirty="0" smtClean="0">
                <a:solidFill>
                  <a:schemeClr val="tx1"/>
                </a:solidFill>
                <a:latin typeface="Arial" charset="0"/>
              </a:rPr>
              <a:t>информацию; использовать </a:t>
            </a:r>
            <a:r>
              <a:rPr lang="ru-RU" dirty="0">
                <a:solidFill>
                  <a:schemeClr val="tx1"/>
                </a:solidFill>
                <a:latin typeface="Arial" charset="0"/>
              </a:rPr>
              <a:t>полученные в школе знания для решения практических задач, в  отношениях с людьми, в профессиональной сфере. </a:t>
            </a:r>
          </a:p>
          <a:p>
            <a:endParaRPr lang="ru-RU" b="1" u="sng" dirty="0" smtClean="0">
              <a:solidFill>
                <a:schemeClr val="tx1"/>
              </a:solidFill>
              <a:latin typeface="Arial" charset="0"/>
            </a:endParaRPr>
          </a:p>
          <a:p>
            <a:pPr marL="0" indent="0" algn="ctr">
              <a:buNone/>
            </a:pPr>
            <a:r>
              <a:rPr lang="ru-RU" dirty="0" smtClean="0">
                <a:solidFill>
                  <a:schemeClr val="tx1"/>
                </a:solidFill>
                <a:latin typeface="Arial" charset="0"/>
              </a:rPr>
              <a:t> </a:t>
            </a:r>
            <a:endParaRPr lang="en-US" dirty="0">
              <a:solidFill>
                <a:schemeClr val="tx1"/>
              </a:solidFill>
              <a:latin typeface="Arial" charset="0"/>
            </a:endParaRPr>
          </a:p>
          <a:p>
            <a:endParaRPr lang="ru-RU" dirty="0">
              <a:solidFill>
                <a:schemeClr val="tx1"/>
              </a:solidFill>
            </a:endParaRPr>
          </a:p>
          <a:p>
            <a:endParaRPr lang="ru-RU" dirty="0">
              <a:latin typeface="Arial" charset="0"/>
            </a:endParaRP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75AA8-97A5-4B00-9CB0-E7675640FF70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69401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857250"/>
          </a:xfrm>
        </p:spPr>
        <p:txBody>
          <a:bodyPr>
            <a:normAutofit/>
          </a:bodyPr>
          <a:lstStyle/>
          <a:p>
            <a:pPr algn="ctr"/>
            <a:r>
              <a:rPr lang="ru-RU" dirty="0" smtClean="0">
                <a:solidFill>
                  <a:schemeClr val="bg2"/>
                </a:solidFill>
              </a:rPr>
              <a:t>Новые стандарты – новые учебники</a:t>
            </a:r>
            <a:endParaRPr lang="ru-RU" dirty="0">
              <a:solidFill>
                <a:schemeClr val="bg2"/>
              </a:solidFill>
            </a:endParaRPr>
          </a:p>
        </p:txBody>
      </p:sp>
      <p:pic>
        <p:nvPicPr>
          <p:cNvPr id="5" name="Picture 4" descr="K:\_for all\1_Продвижение\Обложки для Гали\Русский\Бабайцева-5-9-У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2715766"/>
            <a:ext cx="1152128" cy="15523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 descr="K:\_for all\1_Продвижение\Обложки для Гали\Русский\Никитина-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27784" y="1419622"/>
            <a:ext cx="1253226" cy="15841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3" descr="K:\_for all\1_Продвижение\Обложки для Гали\Русский\Бабайцева-5-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5280" y="870732"/>
            <a:ext cx="1130787" cy="15570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5" descr="K:\_for all\1_Продвижение\Обложки для Гали\Русский\Купалова-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94275" y="1059583"/>
            <a:ext cx="1277526" cy="16980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2" descr="K:\_for all\1_Продвижение\Обложки для Гали\Русский\Разумовская-9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41959" y="2283718"/>
            <a:ext cx="1184396" cy="13324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3" descr="K:\_for all\1_Продвижение\Обложки для Гали\Русский\Разумовская-5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067944" y="1131590"/>
            <a:ext cx="1126713" cy="13681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2" descr="K:\_for all\1_Продвижение\Обложки для Гали\Литература\Курдюмова-9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54021" y="963281"/>
            <a:ext cx="1178420" cy="15093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3" descr="K:\_for all\1_Продвижение\Обложки для Гали\Литература\Курдюмова-5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781255" y="945097"/>
            <a:ext cx="1095002" cy="15093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2" descr="http://www.drofa.ru/images/data/cat/_big_1365417810_resiz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23155" y="2362829"/>
            <a:ext cx="1101174" cy="135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2" descr="C:\Documents and Settings\dorzhieva.n\Рабочий стол\5761_small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676331" y="2528705"/>
            <a:ext cx="1000125" cy="13412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Объект 16"/>
          <p:cNvPicPr>
            <a:picLocks noGrp="1" noChangeAspect="1"/>
          </p:cNvPicPr>
          <p:nvPr>
            <p:ph idx="1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47664" y="2931791"/>
            <a:ext cx="1156194" cy="1512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Объект 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12" y="3480133"/>
            <a:ext cx="1058536" cy="13958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21497" y="3672038"/>
            <a:ext cx="1074640" cy="13479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Объект 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49096" y="2811460"/>
            <a:ext cx="981487" cy="13444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06306" y="3384504"/>
            <a:ext cx="1024113" cy="14194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43613" y="3704494"/>
            <a:ext cx="1072803" cy="1439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375045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39552" y="3003798"/>
            <a:ext cx="8064896" cy="864096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ru-RU" sz="24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104" y="4569972"/>
            <a:ext cx="7272300" cy="483657"/>
          </a:xfrm>
          <a:prstGeom prst="rect">
            <a:avLst/>
          </a:prstGeom>
          <a:noFill/>
        </p:spPr>
      </p:pic>
      <p:pic>
        <p:nvPicPr>
          <p:cNvPr id="7" name="Рисунок 6" descr="2856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1131590"/>
            <a:ext cx="1106879" cy="1079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 descr="3297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5529" y="1707654"/>
            <a:ext cx="990186" cy="1299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 descr="4360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7505" y="2499742"/>
            <a:ext cx="936104" cy="12587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31" descr="249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83535" y="1779662"/>
            <a:ext cx="940193" cy="1057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32" descr="249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05951" y="2499742"/>
            <a:ext cx="817778" cy="11228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6" descr="диск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26700" y="1204174"/>
            <a:ext cx="874409" cy="657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4" descr="2274_20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01955" y="1203599"/>
            <a:ext cx="905950" cy="11507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55" descr="345_2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990580" y="1347614"/>
            <a:ext cx="1011102" cy="11978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56" descr="1330_20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199277" y="1131590"/>
            <a:ext cx="956899" cy="11895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57" descr="1904_20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407973" y="1275606"/>
            <a:ext cx="1002137" cy="12471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58" descr="1944_20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575669" y="1278856"/>
            <a:ext cx="1100788" cy="14369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59" descr="2301_200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915817" y="2499742"/>
            <a:ext cx="864096" cy="1220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20" name="Picture 60" descr="1112_20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491880" y="3363838"/>
            <a:ext cx="1007921" cy="12321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22" name="Picture 62" descr="1779_200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515473" y="2647570"/>
            <a:ext cx="943388" cy="12203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23" name="Picture 63" descr="1799_200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864842" y="2750005"/>
            <a:ext cx="985367" cy="12619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34" name="AutoShape 2"/>
          <p:cNvSpPr txBox="1">
            <a:spLocks noChangeArrowheads="1"/>
          </p:cNvSpPr>
          <p:nvPr/>
        </p:nvSpPr>
        <p:spPr bwMode="gray">
          <a:xfrm>
            <a:off x="827584" y="267494"/>
            <a:ext cx="7772400" cy="406003"/>
          </a:xfrm>
          <a:prstGeom prst="roundRect">
            <a:avLst>
              <a:gd name="adj" fmla="val 49106"/>
            </a:avLst>
          </a:prstGeom>
          <a:solidFill>
            <a:schemeClr val="tx1">
              <a:lumMod val="50000"/>
              <a:lumOff val="50000"/>
            </a:schemeClr>
          </a:solidFill>
          <a:ln w="57150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vert="horz" wrap="non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</a:rPr>
              <a:t>Новые стандарты – новые учебники</a:t>
            </a:r>
            <a:endParaRPr lang="ru-RU" sz="2000" b="1" dirty="0">
              <a:effectLst>
                <a:outerShdw blurRad="38100" dist="38100" dir="2700000" algn="tl">
                  <a:srgbClr val="000000"/>
                </a:outerShdw>
              </a:effectLst>
              <a:latin typeface="+mj-lt"/>
            </a:endParaRPr>
          </a:p>
        </p:txBody>
      </p:sp>
      <p:pic>
        <p:nvPicPr>
          <p:cNvPr id="24" name="Picture 33" descr="305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23528" y="3363838"/>
            <a:ext cx="969702" cy="12241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2" descr="\\parovoz\from_red\_ЭВУ\_Электронные приложения\design\covers\3054.pn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412261" y="3219822"/>
            <a:ext cx="1143515" cy="1368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41" descr="2438_20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189575" y="2114125"/>
            <a:ext cx="1188424" cy="14657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2" descr="\\parovoz\from_red\_ЭВУ\_Электронные приложения\design\covers\2597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593801" y="3177100"/>
            <a:ext cx="1082655" cy="155489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Picture 61" descr="1285_200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076056" y="3363838"/>
            <a:ext cx="1028411" cy="12033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</p:spTree>
    <p:extLst>
      <p:ext uri="{BB962C8B-B14F-4D97-AF65-F5344CB8AC3E}">
        <p14:creationId xmlns:p14="http://schemas.microsoft.com/office/powerpoint/2010/main" xmlns="" val="45111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Презентация1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16х9 sh fin" id="{72F065E1-9FFD-5247-B932-EC7386BFCFC9}" vid="{AD890178-7021-8C44-9F3D-44FC5895AB9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РУ 16х9 sh fin (2)</Template>
  <TotalTime>338</TotalTime>
  <Words>556</Words>
  <Application>Microsoft Office PowerPoint</Application>
  <PresentationFormat>Экран (16:9)</PresentationFormat>
  <Paragraphs>124</Paragraphs>
  <Slides>19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Презентация1</vt:lpstr>
      <vt:lpstr>Взаимодействие издательства учебной литературы с общественными учительскими организациями. Новое время – новые возможности.</vt:lpstr>
      <vt:lpstr>Корпорация «Российский учебник» сегодня – это…</vt:lpstr>
      <vt:lpstr>Причины, обозначившие новый взгляд  на образование</vt:lpstr>
      <vt:lpstr>Тенденции развития современного образования </vt:lpstr>
      <vt:lpstr>Современный ученик должен стать …</vt:lpstr>
      <vt:lpstr>Новая форма - новые возможности</vt:lpstr>
      <vt:lpstr>Главное отличие учебников нового поколения -полифункциональность</vt:lpstr>
      <vt:lpstr>Новые стандарты – новые учебники</vt:lpstr>
      <vt:lpstr>Слайд 9</vt:lpstr>
      <vt:lpstr>Центр образовательных инициатив</vt:lpstr>
      <vt:lpstr>российская цифровая образовательная платформа  для учителей, школьников и родителей</vt:lpstr>
      <vt:lpstr>ЧТО ТАКОЕ LECTA? основные сервисы платформы</vt:lpstr>
      <vt:lpstr>Слайд 13</vt:lpstr>
      <vt:lpstr>Слайд 14</vt:lpstr>
      <vt:lpstr>Общероссийская общественная организация  «Ассоциация учителей литературы и русского языка»</vt:lpstr>
      <vt:lpstr>Астрахань.  Уроки литературы с Борисом Ланиным</vt:lpstr>
      <vt:lpstr>Тверь. Методическая помощь учителю-филологу.</vt:lpstr>
      <vt:lpstr>Слайд 18</vt:lpstr>
      <vt:lpstr>Благодарим за внимание!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ga Donskova</dc:creator>
  <cp:lastModifiedBy>511</cp:lastModifiedBy>
  <cp:revision>39</cp:revision>
  <dcterms:created xsi:type="dcterms:W3CDTF">2017-06-02T16:55:23Z</dcterms:created>
  <dcterms:modified xsi:type="dcterms:W3CDTF">2017-08-21T07:48:39Z</dcterms:modified>
</cp:coreProperties>
</file>